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37" r:id="rId4"/>
    <p:sldMasterId id="2147484186" r:id="rId5"/>
  </p:sldMasterIdLst>
  <p:notesMasterIdLst>
    <p:notesMasterId r:id="rId46"/>
  </p:notesMasterIdLst>
  <p:sldIdLst>
    <p:sldId id="2134805529" r:id="rId6"/>
    <p:sldId id="2147469906" r:id="rId7"/>
    <p:sldId id="2147469899" r:id="rId8"/>
    <p:sldId id="2076138326" r:id="rId9"/>
    <p:sldId id="2145706491" r:id="rId10"/>
    <p:sldId id="2147469913" r:id="rId11"/>
    <p:sldId id="2147469905" r:id="rId12"/>
    <p:sldId id="2147469890" r:id="rId13"/>
    <p:sldId id="2147469891" r:id="rId14"/>
    <p:sldId id="2147469908" r:id="rId15"/>
    <p:sldId id="2147469900" r:id="rId16"/>
    <p:sldId id="2147469868" r:id="rId17"/>
    <p:sldId id="2145706470" r:id="rId18"/>
    <p:sldId id="2147469886" r:id="rId19"/>
    <p:sldId id="2147469882" r:id="rId20"/>
    <p:sldId id="2145706472" r:id="rId21"/>
    <p:sldId id="2145706353" r:id="rId22"/>
    <p:sldId id="2147469873" r:id="rId23"/>
    <p:sldId id="2147469869" r:id="rId24"/>
    <p:sldId id="2147469892" r:id="rId25"/>
    <p:sldId id="2145706481" r:id="rId26"/>
    <p:sldId id="2145706422" r:id="rId27"/>
    <p:sldId id="2145706480" r:id="rId28"/>
    <p:sldId id="2147469893" r:id="rId29"/>
    <p:sldId id="2147470503" r:id="rId30"/>
    <p:sldId id="2147469871" r:id="rId31"/>
    <p:sldId id="2145706483" r:id="rId32"/>
    <p:sldId id="2147469912" r:id="rId33"/>
    <p:sldId id="2147469902" r:id="rId34"/>
    <p:sldId id="2147470504" r:id="rId35"/>
    <p:sldId id="336" r:id="rId36"/>
    <p:sldId id="2147469911" r:id="rId37"/>
    <p:sldId id="2147469909" r:id="rId38"/>
    <p:sldId id="2147469910" r:id="rId39"/>
    <p:sldId id="2147470505" r:id="rId40"/>
    <p:sldId id="2147469888" r:id="rId41"/>
    <p:sldId id="2147469889" r:id="rId42"/>
    <p:sldId id="2147469872" r:id="rId43"/>
    <p:sldId id="2147469903" r:id="rId44"/>
    <p:sldId id="2145706369"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873D067-0323-4CDF-AE22-460A678869DA}">
          <p14:sldIdLst>
            <p14:sldId id="2134805529"/>
          </p14:sldIdLst>
        </p14:section>
        <p14:section name="Untitled Section" id="{0847BFA8-5F84-4C41-8DBC-A77F0539378E}">
          <p14:sldIdLst>
            <p14:sldId id="2147469906"/>
            <p14:sldId id="2147469899"/>
            <p14:sldId id="2076138326"/>
            <p14:sldId id="2145706491"/>
            <p14:sldId id="2147469913"/>
            <p14:sldId id="2147469905"/>
            <p14:sldId id="2147469890"/>
            <p14:sldId id="2147469891"/>
            <p14:sldId id="2147469908"/>
            <p14:sldId id="2147469900"/>
            <p14:sldId id="2147469868"/>
            <p14:sldId id="2145706470"/>
            <p14:sldId id="2147469886"/>
            <p14:sldId id="2147469882"/>
            <p14:sldId id="2145706472"/>
            <p14:sldId id="2145706353"/>
            <p14:sldId id="2147469873"/>
            <p14:sldId id="2147469869"/>
            <p14:sldId id="2147469892"/>
            <p14:sldId id="2145706481"/>
            <p14:sldId id="2145706422"/>
            <p14:sldId id="2145706480"/>
            <p14:sldId id="2147469893"/>
            <p14:sldId id="2147470503"/>
            <p14:sldId id="2147469871"/>
            <p14:sldId id="2145706483"/>
            <p14:sldId id="2147469912"/>
            <p14:sldId id="2147469902"/>
            <p14:sldId id="2147470504"/>
            <p14:sldId id="336"/>
            <p14:sldId id="2147469911"/>
            <p14:sldId id="2147469909"/>
            <p14:sldId id="2147469910"/>
            <p14:sldId id="2147470505"/>
            <p14:sldId id="2147469888"/>
            <p14:sldId id="2147469889"/>
            <p14:sldId id="2147469872"/>
            <p14:sldId id="2147469903"/>
            <p14:sldId id="2145706369"/>
          </p14:sldIdLst>
        </p14:section>
      </p14:sectionLst>
    </p:ext>
    <p:ext uri="{EFAFB233-063F-42B5-8137-9DF3F51BA10A}">
      <p15:sldGuideLst xmlns:p15="http://schemas.microsoft.com/office/powerpoint/2012/main">
        <p15:guide id="7" pos="6552" userDrawn="1">
          <p15:clr>
            <a:srgbClr val="A4A3A4"/>
          </p15:clr>
        </p15:guide>
        <p15:guide id="8" orient="horz" pos="218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D4F3E01-B1D1-4490-1838-5FDAA5D33282}" name="Brad McCabe" initials="BM" userId="S::bradmcc@microsoft.com::9bd59c0c-fcf2-42b4-851a-6dd295cdf275" providerId="AD"/>
  <p188:author id="{95916121-425E-B965-4DA4-E053E5B85969}" name="Jennifer Burdett" initials="JB" userId="S::jgagnon@microsoft.com::1e638bdc-d17d-424e-b8b5-d527180cda3b" providerId="AD"/>
  <p188:author id="{12A9CA35-5BD9-906F-9458-88E8AA7FD7E5}" name="Seth Patton" initials="SP" userId="S::sethpat@microsoft.com::2b5c901c-bc63-4a16-b9d6-95b2fe7e48a1" providerId="AD"/>
  <p188:author id="{23BB7E3C-2A16-69D1-7D76-3BEF1D29D1F2}" name="Ben Witt" initials="BW" userId="S::bwitt@microsoft.com::b94eb66d-3075-48f9-8126-21dde6eff0e3" providerId="AD"/>
  <p188:author id="{95BF8C5C-3C57-BBB2-1860-F20A4764D93B}" name="Rebecka Isaksson" initials="" userId="reisakss@microsoft.com" providerId="O365"/>
  <p188:author id="{99BBDF87-CB8C-E633-7CD9-5F29F5403DA5}" name="Nammi Nadella" initials="NN" userId="S::nanadell@microsoft.com::c75da436-97fe-49ef-9a65-483e05424d76" providerId="AD"/>
  <p188:author id="{46983A96-0CB7-2FC4-767C-0CB9A29ACD91}" name="Michael Holste" initials="MH" userId="S::miholste@microsoft.com::3e25461e-d352-4ff6-9c56-72d944834c3d" providerId="AD"/>
  <p188:author id="{9992319E-69C8-2FBA-BEDD-2C5660FE0093}" name="John Mighell" initials="JM" userId="S::jomigh@microsoft.com::aa110d23-b74a-4732-bbdf-11d185d8cf54" providerId="AD"/>
  <p188:author id="{A5BFA7A0-1CAF-F152-E879-F4B2CEBC7E28}" name="Chris McNulty" initials="" userId="chmcnult@microsoft.com" providerId="O365"/>
  <p188:author id="{A4D219B9-4B83-0BDA-F650-85AA63A28EF1}" name="Rebecka Isaksson" initials="RI" userId="S::reisakss@microsoft.com::d0a43b81-c329-4e04-8a17-165baf665e92" providerId="AD"/>
  <p188:author id="{1AEF6AC3-90B9-4443-9537-1FAB64CF9FFD}" name="Katie Swanson" initials="KS" userId="S::kaswanso@microsoft.com::c50b5480-b294-429a-a5b2-5dbbdefbbfc7" providerId="AD"/>
  <p188:author id="{78757CC7-480D-8B59-8FE9-81D8C3C85CF4}" name="Susan Aznoff (SNODGRASS ANNAND PLLC FORMERLY)" initials="SF" userId="S::v-suazno@microsoft.com::c0a526a9-e867-46b3-9653-7278b22ff610" providerId="AD"/>
  <p188:author id="{646927D7-0EC5-001E-A176-EFB7F1629782}" name="Alex Deane" initials="AD" userId="S::v-alexdeane@microsoft.com::db53aa9d-f261-4ea5-96b7-f9d346a97eec" providerId="AD"/>
  <p188:author id="{271648F5-405B-0777-993B-92BBD31429C8}" name="Chris McNulty" initials="CM" userId="S::chmcnult@microsoft.com::f93d7b0f-20a4-4480-a8e5-26594aca01ca" providerId="AD"/>
  <p188:author id="{EA45EEFD-7D90-90B2-A960-03A48F97E123}" name="Divyanka Malik" initials="DM" userId="S::dimalik@microsoft.com::29051880-fc50-4d46-b0bd-e421493e6c34" providerId="AD"/>
  <p188:author id="{EED8D5FF-8652-A10B-F493-F3C2C529FE2A}" name="Shin-Yi Lim" initials="SYL" userId="S::shilim@microsoft.com::df3d1b7d-b32c-4c7c-bce1-d0590a8307c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un Young" initials="JY" lastIdx="23" clrIdx="0">
    <p:extLst>
      <p:ext uri="{19B8F6BF-5375-455C-9EA6-DF929625EA0E}">
        <p15:presenceInfo xmlns:p15="http://schemas.microsoft.com/office/powerpoint/2012/main" userId="78c2cdb4a139ee7a" providerId="Windows Live"/>
      </p:ext>
    </p:extLst>
  </p:cmAuthor>
  <p:cmAuthor id="2" name="Angela Powell" initials="AP" lastIdx="25" clrIdx="1">
    <p:extLst>
      <p:ext uri="{19B8F6BF-5375-455C-9EA6-DF929625EA0E}">
        <p15:presenceInfo xmlns:p15="http://schemas.microsoft.com/office/powerpoint/2012/main" userId="cf7d67635d593fc2" providerId="Windows Live"/>
      </p:ext>
    </p:extLst>
  </p:cmAuthor>
  <p:cmAuthor id="3" name="Ariel Garcia" initials="AG" lastIdx="3" clrIdx="2">
    <p:extLst>
      <p:ext uri="{19B8F6BF-5375-455C-9EA6-DF929625EA0E}">
        <p15:presenceInfo xmlns:p15="http://schemas.microsoft.com/office/powerpoint/2012/main" userId="Ariel Garcia" providerId="None"/>
      </p:ext>
    </p:extLst>
  </p:cmAuthor>
  <p:cmAuthor id="4" name="Jun Young" initials="JY [2]" lastIdx="24" clrIdx="3">
    <p:extLst>
      <p:ext uri="{19B8F6BF-5375-455C-9EA6-DF929625EA0E}">
        <p15:presenceInfo xmlns:p15="http://schemas.microsoft.com/office/powerpoint/2012/main" userId="Jun You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4B16"/>
    <a:srgbClr val="107C10"/>
    <a:srgbClr val="424AB4"/>
    <a:srgbClr val="565EC1"/>
    <a:srgbClr val="DFEDDF"/>
    <a:srgbClr val="E5F1E3"/>
    <a:srgbClr val="E4F3E1"/>
    <a:srgbClr val="E2F5DF"/>
    <a:srgbClr val="A6D0A0"/>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EBE1AD-88D9-4083-99F3-2DCC2DFBE327}" v="215" dt="2022-03-25T21:29:17.6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6552"/>
        <p:guide orient="horz" pos="2184"/>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5/10/relationships/revisionInfo" Target="revisionInfo.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 Lum" userId="89002afe-ac3a-4767-b9c9-147d574dba1b" providerId="ADAL" clId="{EA4215A8-E345-424E-903B-D7FDDE83AC3F}"/>
    <pc:docChg chg="undo custSel addSld delSld modSld sldOrd delSection modSection">
      <pc:chgData name="Andrea Lum" userId="89002afe-ac3a-4767-b9c9-147d574dba1b" providerId="ADAL" clId="{EA4215A8-E345-424E-903B-D7FDDE83AC3F}" dt="2021-11-02T17:06:09.703" v="2678"/>
      <pc:docMkLst>
        <pc:docMk/>
      </pc:docMkLst>
      <pc:sldChg chg="delSp modSp add mod">
        <pc:chgData name="Andrea Lum" userId="89002afe-ac3a-4767-b9c9-147d574dba1b" providerId="ADAL" clId="{EA4215A8-E345-424E-903B-D7FDDE83AC3F}" dt="2021-11-01T19:08:46.553" v="2559" actId="207"/>
        <pc:sldMkLst>
          <pc:docMk/>
          <pc:sldMk cId="2987628942" sldId="336"/>
        </pc:sldMkLst>
        <pc:spChg chg="mod">
          <ac:chgData name="Andrea Lum" userId="89002afe-ac3a-4767-b9c9-147d574dba1b" providerId="ADAL" clId="{EA4215A8-E345-424E-903B-D7FDDE83AC3F}" dt="2021-11-01T18:57:25.640" v="1887" actId="1076"/>
          <ac:spMkLst>
            <pc:docMk/>
            <pc:sldMk cId="2987628942" sldId="336"/>
            <ac:spMk id="2" creationId="{00000000-0000-0000-0000-000000000000}"/>
          </ac:spMkLst>
        </pc:spChg>
        <pc:spChg chg="mod">
          <ac:chgData name="Andrea Lum" userId="89002afe-ac3a-4767-b9c9-147d574dba1b" providerId="ADAL" clId="{EA4215A8-E345-424E-903B-D7FDDE83AC3F}" dt="2021-11-01T18:58:15.309" v="1980" actId="20577"/>
          <ac:spMkLst>
            <pc:docMk/>
            <pc:sldMk cId="2987628942" sldId="336"/>
            <ac:spMk id="51" creationId="{21AFAA32-65C8-4497-B2F9-AF8BBB46F05F}"/>
          </ac:spMkLst>
        </pc:spChg>
        <pc:spChg chg="mod">
          <ac:chgData name="Andrea Lum" userId="89002afe-ac3a-4767-b9c9-147d574dba1b" providerId="ADAL" clId="{EA4215A8-E345-424E-903B-D7FDDE83AC3F}" dt="2021-11-01T19:08:46.553" v="2559" actId="207"/>
          <ac:spMkLst>
            <pc:docMk/>
            <pc:sldMk cId="2987628942" sldId="336"/>
            <ac:spMk id="53" creationId="{BFA9AC71-9DEF-4B4D-ADFD-52391FC90D87}"/>
          </ac:spMkLst>
        </pc:spChg>
        <pc:spChg chg="mod">
          <ac:chgData name="Andrea Lum" userId="89002afe-ac3a-4767-b9c9-147d574dba1b" providerId="ADAL" clId="{EA4215A8-E345-424E-903B-D7FDDE83AC3F}" dt="2021-11-01T18:59:19.605" v="2089" actId="20577"/>
          <ac:spMkLst>
            <pc:docMk/>
            <pc:sldMk cId="2987628942" sldId="336"/>
            <ac:spMk id="55" creationId="{32A18B77-9C4A-4B8D-BE45-92124FA57310}"/>
          </ac:spMkLst>
        </pc:spChg>
        <pc:spChg chg="mod">
          <ac:chgData name="Andrea Lum" userId="89002afe-ac3a-4767-b9c9-147d574dba1b" providerId="ADAL" clId="{EA4215A8-E345-424E-903B-D7FDDE83AC3F}" dt="2021-11-01T19:00:15.812" v="2214" actId="20577"/>
          <ac:spMkLst>
            <pc:docMk/>
            <pc:sldMk cId="2987628942" sldId="336"/>
            <ac:spMk id="57" creationId="{5DD4253F-3F25-4BD6-AECE-2E64AC7C59EA}"/>
          </ac:spMkLst>
        </pc:spChg>
        <pc:picChg chg="del">
          <ac:chgData name="Andrea Lum" userId="89002afe-ac3a-4767-b9c9-147d574dba1b" providerId="ADAL" clId="{EA4215A8-E345-424E-903B-D7FDDE83AC3F}" dt="2021-11-01T18:57:08.197" v="1869" actId="478"/>
          <ac:picMkLst>
            <pc:docMk/>
            <pc:sldMk cId="2987628942" sldId="336"/>
            <ac:picMk id="58" creationId="{D4A9175F-FC14-4EF4-A72B-C93916BA1678}"/>
          </ac:picMkLst>
        </pc:picChg>
      </pc:sldChg>
      <pc:sldChg chg="modSp add del mod">
        <pc:chgData name="Andrea Lum" userId="89002afe-ac3a-4767-b9c9-147d574dba1b" providerId="ADAL" clId="{EA4215A8-E345-424E-903B-D7FDDE83AC3F}" dt="2021-11-01T19:00:31.352" v="2215" actId="47"/>
        <pc:sldMkLst>
          <pc:docMk/>
          <pc:sldMk cId="2276182252" sldId="1040"/>
        </pc:sldMkLst>
        <pc:spChg chg="mod">
          <ac:chgData name="Andrea Lum" userId="89002afe-ac3a-4767-b9c9-147d574dba1b" providerId="ADAL" clId="{EA4215A8-E345-424E-903B-D7FDDE83AC3F}" dt="2021-11-01T18:56:19.637" v="1866" actId="1076"/>
          <ac:spMkLst>
            <pc:docMk/>
            <pc:sldMk cId="2276182252" sldId="1040"/>
            <ac:spMk id="2" creationId="{00000000-0000-0000-0000-000000000000}"/>
          </ac:spMkLst>
        </pc:spChg>
      </pc:sldChg>
      <pc:sldChg chg="del">
        <pc:chgData name="Andrea Lum" userId="89002afe-ac3a-4767-b9c9-147d574dba1b" providerId="ADAL" clId="{EA4215A8-E345-424E-903B-D7FDDE83AC3F}" dt="2021-11-01T18:25:43.001" v="1494" actId="47"/>
        <pc:sldMkLst>
          <pc:docMk/>
          <pc:sldMk cId="3550314037" sldId="2145706419"/>
        </pc:sldMkLst>
      </pc:sldChg>
      <pc:sldChg chg="modNotesTx">
        <pc:chgData name="Andrea Lum" userId="89002afe-ac3a-4767-b9c9-147d574dba1b" providerId="ADAL" clId="{EA4215A8-E345-424E-903B-D7FDDE83AC3F}" dt="2021-11-02T16:56:57.571" v="2666" actId="20577"/>
        <pc:sldMkLst>
          <pc:docMk/>
          <pc:sldMk cId="3627337113" sldId="2145706470"/>
        </pc:sldMkLst>
      </pc:sldChg>
      <pc:sldChg chg="modNotesTx">
        <pc:chgData name="Andrea Lum" userId="89002afe-ac3a-4767-b9c9-147d574dba1b" providerId="ADAL" clId="{EA4215A8-E345-424E-903B-D7FDDE83AC3F}" dt="2021-11-02T16:57:23.818" v="2670" actId="20577"/>
        <pc:sldMkLst>
          <pc:docMk/>
          <pc:sldMk cId="22503134" sldId="2145706472"/>
        </pc:sldMkLst>
      </pc:sldChg>
      <pc:sldChg chg="del">
        <pc:chgData name="Andrea Lum" userId="89002afe-ac3a-4767-b9c9-147d574dba1b" providerId="ADAL" clId="{EA4215A8-E345-424E-903B-D7FDDE83AC3F}" dt="2021-11-01T18:10:52.154" v="1221" actId="47"/>
        <pc:sldMkLst>
          <pc:docMk/>
          <pc:sldMk cId="1686544265" sldId="2145706479"/>
        </pc:sldMkLst>
      </pc:sldChg>
      <pc:sldChg chg="delSp modSp mod ord modShow modNotesTx">
        <pc:chgData name="Andrea Lum" userId="89002afe-ac3a-4767-b9c9-147d574dba1b" providerId="ADAL" clId="{EA4215A8-E345-424E-903B-D7FDDE83AC3F}" dt="2021-11-02T16:57:37.684" v="2672" actId="20577"/>
        <pc:sldMkLst>
          <pc:docMk/>
          <pc:sldMk cId="876090275" sldId="2145706480"/>
        </pc:sldMkLst>
        <pc:spChg chg="del">
          <ac:chgData name="Andrea Lum" userId="89002afe-ac3a-4767-b9c9-147d574dba1b" providerId="ADAL" clId="{EA4215A8-E345-424E-903B-D7FDDE83AC3F}" dt="2021-11-01T18:16:49.334" v="1325" actId="478"/>
          <ac:spMkLst>
            <pc:docMk/>
            <pc:sldMk cId="876090275" sldId="2145706480"/>
            <ac:spMk id="2" creationId="{99FB8C31-5526-4CFE-AAFE-A64B7513B79C}"/>
          </ac:spMkLst>
        </pc:spChg>
        <pc:spChg chg="mod">
          <ac:chgData name="Andrea Lum" userId="89002afe-ac3a-4767-b9c9-147d574dba1b" providerId="ADAL" clId="{EA4215A8-E345-424E-903B-D7FDDE83AC3F}" dt="2021-11-01T18:19:01.433" v="1341" actId="5793"/>
          <ac:spMkLst>
            <pc:docMk/>
            <pc:sldMk cId="876090275" sldId="2145706480"/>
            <ac:spMk id="3" creationId="{B7D3A46F-8622-4A61-9D29-9B10B9A8542A}"/>
          </ac:spMkLst>
        </pc:spChg>
        <pc:spChg chg="mod">
          <ac:chgData name="Andrea Lum" userId="89002afe-ac3a-4767-b9c9-147d574dba1b" providerId="ADAL" clId="{EA4215A8-E345-424E-903B-D7FDDE83AC3F}" dt="2021-11-01T18:26:03.602" v="1497"/>
          <ac:spMkLst>
            <pc:docMk/>
            <pc:sldMk cId="876090275" sldId="2145706480"/>
            <ac:spMk id="10" creationId="{4318B54C-C054-4A2D-A6F5-8DA6898CF48A}"/>
          </ac:spMkLst>
        </pc:spChg>
        <pc:spChg chg="mod">
          <ac:chgData name="Andrea Lum" userId="89002afe-ac3a-4767-b9c9-147d574dba1b" providerId="ADAL" clId="{EA4215A8-E345-424E-903B-D7FDDE83AC3F}" dt="2021-11-01T18:22:18.765" v="1487" actId="20577"/>
          <ac:spMkLst>
            <pc:docMk/>
            <pc:sldMk cId="876090275" sldId="2145706480"/>
            <ac:spMk id="14" creationId="{542E32E1-E688-4FAA-817C-C99A6568261D}"/>
          </ac:spMkLst>
        </pc:spChg>
      </pc:sldChg>
      <pc:sldChg chg="addSp delSp modSp mod ord modShow modNotesTx">
        <pc:chgData name="Andrea Lum" userId="89002afe-ac3a-4767-b9c9-147d574dba1b" providerId="ADAL" clId="{EA4215A8-E345-424E-903B-D7FDDE83AC3F}" dt="2021-11-02T16:57:33.186" v="2671" actId="20577"/>
        <pc:sldMkLst>
          <pc:docMk/>
          <pc:sldMk cId="2700398969" sldId="2145706481"/>
        </pc:sldMkLst>
        <pc:spChg chg="add mod">
          <ac:chgData name="Andrea Lum" userId="89002afe-ac3a-4767-b9c9-147d574dba1b" providerId="ADAL" clId="{EA4215A8-E345-424E-903B-D7FDDE83AC3F}" dt="2021-11-01T18:15:00.691" v="1280" actId="1076"/>
          <ac:spMkLst>
            <pc:docMk/>
            <pc:sldMk cId="2700398969" sldId="2145706481"/>
            <ac:spMk id="5" creationId="{DBE35118-EDF4-43F8-AB49-B63362E52112}"/>
          </ac:spMkLst>
        </pc:spChg>
        <pc:spChg chg="mod">
          <ac:chgData name="Andrea Lum" userId="89002afe-ac3a-4767-b9c9-147d574dba1b" providerId="ADAL" clId="{EA4215A8-E345-424E-903B-D7FDDE83AC3F}" dt="2021-11-01T18:19:58.117" v="1345" actId="20577"/>
          <ac:spMkLst>
            <pc:docMk/>
            <pc:sldMk cId="2700398969" sldId="2145706481"/>
            <ac:spMk id="15" creationId="{30A28C9F-8194-47DF-8076-C007F6663109}"/>
          </ac:spMkLst>
        </pc:spChg>
        <pc:spChg chg="del">
          <ac:chgData name="Andrea Lum" userId="89002afe-ac3a-4767-b9c9-147d574dba1b" providerId="ADAL" clId="{EA4215A8-E345-424E-903B-D7FDDE83AC3F}" dt="2021-11-01T18:11:40.329" v="1222" actId="478"/>
          <ac:spMkLst>
            <pc:docMk/>
            <pc:sldMk cId="2700398969" sldId="2145706481"/>
            <ac:spMk id="32" creationId="{0DA84CA2-AD87-47AD-B0B3-3F9807287314}"/>
          </ac:spMkLst>
        </pc:spChg>
        <pc:picChg chg="add mod">
          <ac:chgData name="Andrea Lum" userId="89002afe-ac3a-4767-b9c9-147d574dba1b" providerId="ADAL" clId="{EA4215A8-E345-424E-903B-D7FDDE83AC3F}" dt="2021-11-01T18:15:00.691" v="1280" actId="1076"/>
          <ac:picMkLst>
            <pc:docMk/>
            <pc:sldMk cId="2700398969" sldId="2145706481"/>
            <ac:picMk id="4" creationId="{FB2930C9-4B1E-4CC1-A9A1-04C6D7B7E596}"/>
          </ac:picMkLst>
        </pc:picChg>
        <pc:picChg chg="del">
          <ac:chgData name="Andrea Lum" userId="89002afe-ac3a-4767-b9c9-147d574dba1b" providerId="ADAL" clId="{EA4215A8-E345-424E-903B-D7FDDE83AC3F}" dt="2021-11-01T18:12:52.266" v="1223" actId="478"/>
          <ac:picMkLst>
            <pc:docMk/>
            <pc:sldMk cId="2700398969" sldId="2145706481"/>
            <ac:picMk id="16" creationId="{0C733CC3-B5B7-4D64-BB34-9D5DA1D5E54A}"/>
          </ac:picMkLst>
        </pc:picChg>
      </pc:sldChg>
      <pc:sldChg chg="del">
        <pc:chgData name="Andrea Lum" userId="89002afe-ac3a-4767-b9c9-147d574dba1b" providerId="ADAL" clId="{EA4215A8-E345-424E-903B-D7FDDE83AC3F}" dt="2021-10-28T23:48:15.827" v="0" actId="47"/>
        <pc:sldMkLst>
          <pc:docMk/>
          <pc:sldMk cId="1238923053" sldId="2145706482"/>
        </pc:sldMkLst>
      </pc:sldChg>
      <pc:sldChg chg="modNotesTx">
        <pc:chgData name="Andrea Lum" userId="89002afe-ac3a-4767-b9c9-147d574dba1b" providerId="ADAL" clId="{EA4215A8-E345-424E-903B-D7FDDE83AC3F}" dt="2021-11-02T16:57:43.706" v="2673" actId="20577"/>
        <pc:sldMkLst>
          <pc:docMk/>
          <pc:sldMk cId="2619123156" sldId="2145706483"/>
        </pc:sldMkLst>
      </pc:sldChg>
      <pc:sldChg chg="modSp mod modNotesTx">
        <pc:chgData name="Andrea Lum" userId="89002afe-ac3a-4767-b9c9-147d574dba1b" providerId="ADAL" clId="{EA4215A8-E345-424E-903B-D7FDDE83AC3F}" dt="2021-11-02T16:58:24.539" v="2676" actId="20577"/>
        <pc:sldMkLst>
          <pc:docMk/>
          <pc:sldMk cId="2247568808" sldId="2145706491"/>
        </pc:sldMkLst>
        <pc:spChg chg="mod">
          <ac:chgData name="Andrea Lum" userId="89002afe-ac3a-4767-b9c9-147d574dba1b" providerId="ADAL" clId="{EA4215A8-E345-424E-903B-D7FDDE83AC3F}" dt="2021-11-02T16:58:24.539" v="2676" actId="20577"/>
          <ac:spMkLst>
            <pc:docMk/>
            <pc:sldMk cId="2247568808" sldId="2145706491"/>
            <ac:spMk id="8" creationId="{5A49A5FD-BF83-4FE5-933E-8D65FC743083}"/>
          </ac:spMkLst>
        </pc:spChg>
      </pc:sldChg>
      <pc:sldChg chg="del">
        <pc:chgData name="Andrea Lum" userId="89002afe-ac3a-4767-b9c9-147d574dba1b" providerId="ADAL" clId="{EA4215A8-E345-424E-903B-D7FDDE83AC3F}" dt="2021-10-28T23:48:15.827" v="0" actId="47"/>
        <pc:sldMkLst>
          <pc:docMk/>
          <pc:sldMk cId="1976350867" sldId="2147469870"/>
        </pc:sldMkLst>
      </pc:sldChg>
      <pc:sldChg chg="modSp mod">
        <pc:chgData name="Andrea Lum" userId="89002afe-ac3a-4767-b9c9-147d574dba1b" providerId="ADAL" clId="{EA4215A8-E345-424E-903B-D7FDDE83AC3F}" dt="2021-11-01T18:55:03.789" v="1843" actId="20577"/>
        <pc:sldMkLst>
          <pc:docMk/>
          <pc:sldMk cId="1389922" sldId="2147469871"/>
        </pc:sldMkLst>
        <pc:spChg chg="mod">
          <ac:chgData name="Andrea Lum" userId="89002afe-ac3a-4767-b9c9-147d574dba1b" providerId="ADAL" clId="{EA4215A8-E345-424E-903B-D7FDDE83AC3F}" dt="2021-11-01T18:55:03.789" v="1843" actId="20577"/>
          <ac:spMkLst>
            <pc:docMk/>
            <pc:sldMk cId="1389922" sldId="2147469871"/>
            <ac:spMk id="2" creationId="{00000000-0000-0000-0000-000000000000}"/>
          </ac:spMkLst>
        </pc:spChg>
      </pc:sldChg>
      <pc:sldChg chg="delCm modCm">
        <pc:chgData name="Andrea Lum" userId="89002afe-ac3a-4767-b9c9-147d574dba1b" providerId="ADAL" clId="{EA4215A8-E345-424E-903B-D7FDDE83AC3F}" dt="2021-11-02T17:06:09.703" v="2678"/>
        <pc:sldMkLst>
          <pc:docMk/>
          <pc:sldMk cId="2732924721" sldId="2147469873"/>
        </pc:sldMkLst>
      </pc:sldChg>
      <pc:sldChg chg="modNotesTx">
        <pc:chgData name="Andrea Lum" userId="89002afe-ac3a-4767-b9c9-147d574dba1b" providerId="ADAL" clId="{EA4215A8-E345-424E-903B-D7FDDE83AC3F}" dt="2021-11-02T16:57:20.540" v="2669" actId="20577"/>
        <pc:sldMkLst>
          <pc:docMk/>
          <pc:sldMk cId="159787730" sldId="2147469882"/>
        </pc:sldMkLst>
      </pc:sldChg>
      <pc:sldChg chg="delSp modSp mod">
        <pc:chgData name="Andrea Lum" userId="89002afe-ac3a-4767-b9c9-147d574dba1b" providerId="ADAL" clId="{EA4215A8-E345-424E-903B-D7FDDE83AC3F}" dt="2021-10-29T22:48:38.566" v="248" actId="20577"/>
        <pc:sldMkLst>
          <pc:docMk/>
          <pc:sldMk cId="1672915506" sldId="2147469886"/>
        </pc:sldMkLst>
        <pc:spChg chg="del">
          <ac:chgData name="Andrea Lum" userId="89002afe-ac3a-4767-b9c9-147d574dba1b" providerId="ADAL" clId="{EA4215A8-E345-424E-903B-D7FDDE83AC3F}" dt="2021-10-29T22:45:31.986" v="172" actId="478"/>
          <ac:spMkLst>
            <pc:docMk/>
            <pc:sldMk cId="1672915506" sldId="2147469886"/>
            <ac:spMk id="3" creationId="{4CE7C3F8-174B-4E23-92EC-95AABA30CD33}"/>
          </ac:spMkLst>
        </pc:spChg>
        <pc:graphicFrameChg chg="mod modGraphic">
          <ac:chgData name="Andrea Lum" userId="89002afe-ac3a-4767-b9c9-147d574dba1b" providerId="ADAL" clId="{EA4215A8-E345-424E-903B-D7FDDE83AC3F}" dt="2021-10-29T22:48:38.566" v="248" actId="20577"/>
          <ac:graphicFrameMkLst>
            <pc:docMk/>
            <pc:sldMk cId="1672915506" sldId="2147469886"/>
            <ac:graphicFrameMk id="8" creationId="{4BD0150A-C9F7-4407-BBE1-89421A8D5A0E}"/>
          </ac:graphicFrameMkLst>
        </pc:graphicFrameChg>
      </pc:sldChg>
      <pc:sldChg chg="ord">
        <pc:chgData name="Andrea Lum" userId="89002afe-ac3a-4767-b9c9-147d574dba1b" providerId="ADAL" clId="{EA4215A8-E345-424E-903B-D7FDDE83AC3F}" dt="2021-11-01T18:25:52.034" v="1496"/>
        <pc:sldMkLst>
          <pc:docMk/>
          <pc:sldMk cId="3320267230" sldId="2147469893"/>
        </pc:sldMkLst>
      </pc:sldChg>
      <pc:sldChg chg="modSp mod">
        <pc:chgData name="Andrea Lum" userId="89002afe-ac3a-4767-b9c9-147d574dba1b" providerId="ADAL" clId="{EA4215A8-E345-424E-903B-D7FDDE83AC3F}" dt="2021-11-01T21:36:24.365" v="2665" actId="1035"/>
        <pc:sldMkLst>
          <pc:docMk/>
          <pc:sldMk cId="1149280904" sldId="2147469900"/>
        </pc:sldMkLst>
        <pc:spChg chg="mod">
          <ac:chgData name="Andrea Lum" userId="89002afe-ac3a-4767-b9c9-147d574dba1b" providerId="ADAL" clId="{EA4215A8-E345-424E-903B-D7FDDE83AC3F}" dt="2021-11-01T21:36:24.365" v="2665" actId="1035"/>
          <ac:spMkLst>
            <pc:docMk/>
            <pc:sldMk cId="1149280904" sldId="2147469900"/>
            <ac:spMk id="50" creationId="{8CD7B359-D725-48E6-844A-0D719C973828}"/>
          </ac:spMkLst>
        </pc:spChg>
      </pc:sldChg>
      <pc:sldChg chg="del">
        <pc:chgData name="Andrea Lum" userId="89002afe-ac3a-4767-b9c9-147d574dba1b" providerId="ADAL" clId="{EA4215A8-E345-424E-903B-D7FDDE83AC3F}" dt="2021-11-01T18:25:43.001" v="1494" actId="47"/>
        <pc:sldMkLst>
          <pc:docMk/>
          <pc:sldMk cId="1977705052" sldId="2147469901"/>
        </pc:sldMkLst>
      </pc:sldChg>
      <pc:sldChg chg="modNotesTx">
        <pc:chgData name="Andrea Lum" userId="89002afe-ac3a-4767-b9c9-147d574dba1b" providerId="ADAL" clId="{EA4215A8-E345-424E-903B-D7FDDE83AC3F}" dt="2021-11-02T16:57:47.285" v="2674" actId="20577"/>
        <pc:sldMkLst>
          <pc:docMk/>
          <pc:sldMk cId="1520289119" sldId="2147469902"/>
        </pc:sldMkLst>
      </pc:sldChg>
      <pc:sldChg chg="addSp delSp modSp mod">
        <pc:chgData name="Andrea Lum" userId="89002afe-ac3a-4767-b9c9-147d574dba1b" providerId="ADAL" clId="{EA4215A8-E345-424E-903B-D7FDDE83AC3F}" dt="2021-11-01T21:34:00.114" v="2561" actId="20577"/>
        <pc:sldMkLst>
          <pc:docMk/>
          <pc:sldMk cId="1776845696" sldId="2147469903"/>
        </pc:sldMkLst>
        <pc:spChg chg="del mod">
          <ac:chgData name="Andrea Lum" userId="89002afe-ac3a-4767-b9c9-147d574dba1b" providerId="ADAL" clId="{EA4215A8-E345-424E-903B-D7FDDE83AC3F}" dt="2021-10-29T22:56:59.859" v="1096" actId="478"/>
          <ac:spMkLst>
            <pc:docMk/>
            <pc:sldMk cId="1776845696" sldId="2147469903"/>
            <ac:spMk id="2" creationId="{0AE3018F-00AC-464B-9184-04FD64A153C0}"/>
          </ac:spMkLst>
        </pc:spChg>
        <pc:spChg chg="add mod">
          <ac:chgData name="Andrea Lum" userId="89002afe-ac3a-4767-b9c9-147d574dba1b" providerId="ADAL" clId="{EA4215A8-E345-424E-903B-D7FDDE83AC3F}" dt="2021-10-29T22:59:18.198" v="1127" actId="1076"/>
          <ac:spMkLst>
            <pc:docMk/>
            <pc:sldMk cId="1776845696" sldId="2147469903"/>
            <ac:spMk id="4" creationId="{AF0D7192-9EA5-4939-99DB-3B8460809F07}"/>
          </ac:spMkLst>
        </pc:spChg>
        <pc:spChg chg="mod">
          <ac:chgData name="Andrea Lum" userId="89002afe-ac3a-4767-b9c9-147d574dba1b" providerId="ADAL" clId="{EA4215A8-E345-424E-903B-D7FDDE83AC3F}" dt="2021-11-01T21:34:00.114" v="2561" actId="20577"/>
          <ac:spMkLst>
            <pc:docMk/>
            <pc:sldMk cId="1776845696" sldId="2147469903"/>
            <ac:spMk id="28" creationId="{02BBB2F3-3BEB-4CC2-A1BF-67F01DF189B5}"/>
          </ac:spMkLst>
        </pc:spChg>
        <pc:spChg chg="mod">
          <ac:chgData name="Andrea Lum" userId="89002afe-ac3a-4767-b9c9-147d574dba1b" providerId="ADAL" clId="{EA4215A8-E345-424E-903B-D7FDDE83AC3F}" dt="2021-10-29T22:53:03.900" v="805" actId="113"/>
          <ac:spMkLst>
            <pc:docMk/>
            <pc:sldMk cId="1776845696" sldId="2147469903"/>
            <ac:spMk id="35" creationId="{E8C14E70-A53C-49CA-A753-A17577C4E189}"/>
          </ac:spMkLst>
        </pc:spChg>
        <pc:spChg chg="mod">
          <ac:chgData name="Andrea Lum" userId="89002afe-ac3a-4767-b9c9-147d574dba1b" providerId="ADAL" clId="{EA4215A8-E345-424E-903B-D7FDDE83AC3F}" dt="2021-10-29T22:59:13.531" v="1126" actId="14100"/>
          <ac:spMkLst>
            <pc:docMk/>
            <pc:sldMk cId="1776845696" sldId="2147469903"/>
            <ac:spMk id="38" creationId="{62EF74CA-CB6F-47D9-AADB-EEC1DACD6E24}"/>
          </ac:spMkLst>
        </pc:spChg>
        <pc:spChg chg="mod">
          <ac:chgData name="Andrea Lum" userId="89002afe-ac3a-4767-b9c9-147d574dba1b" providerId="ADAL" clId="{EA4215A8-E345-424E-903B-D7FDDE83AC3F}" dt="2021-10-29T22:57:10.734" v="1120" actId="1035"/>
          <ac:spMkLst>
            <pc:docMk/>
            <pc:sldMk cId="1776845696" sldId="2147469903"/>
            <ac:spMk id="40" creationId="{9D191D59-61B3-4FF6-BC07-9BA7332D30E0}"/>
          </ac:spMkLst>
        </pc:spChg>
        <pc:spChg chg="mod">
          <ac:chgData name="Andrea Lum" userId="89002afe-ac3a-4767-b9c9-147d574dba1b" providerId="ADAL" clId="{EA4215A8-E345-424E-903B-D7FDDE83AC3F}" dt="2021-10-29T22:57:10.734" v="1120" actId="1035"/>
          <ac:spMkLst>
            <pc:docMk/>
            <pc:sldMk cId="1776845696" sldId="2147469903"/>
            <ac:spMk id="41" creationId="{A4E0BB8C-5BDD-4E9E-8F10-928B5A584287}"/>
          </ac:spMkLst>
        </pc:spChg>
        <pc:spChg chg="mod">
          <ac:chgData name="Andrea Lum" userId="89002afe-ac3a-4767-b9c9-147d574dba1b" providerId="ADAL" clId="{EA4215A8-E345-424E-903B-D7FDDE83AC3F}" dt="2021-10-29T22:57:10.734" v="1120" actId="1035"/>
          <ac:spMkLst>
            <pc:docMk/>
            <pc:sldMk cId="1776845696" sldId="2147469903"/>
            <ac:spMk id="42" creationId="{51E1EC50-13DC-4829-B9E4-D05888143F0B}"/>
          </ac:spMkLst>
        </pc:spChg>
        <pc:spChg chg="mod">
          <ac:chgData name="Andrea Lum" userId="89002afe-ac3a-4767-b9c9-147d574dba1b" providerId="ADAL" clId="{EA4215A8-E345-424E-903B-D7FDDE83AC3F}" dt="2021-10-29T22:57:10.734" v="1120" actId="1035"/>
          <ac:spMkLst>
            <pc:docMk/>
            <pc:sldMk cId="1776845696" sldId="2147469903"/>
            <ac:spMk id="43" creationId="{81F49149-F6E8-4C83-AA1A-D712676FFB68}"/>
          </ac:spMkLst>
        </pc:spChg>
        <pc:spChg chg="del">
          <ac:chgData name="Andrea Lum" userId="89002afe-ac3a-4767-b9c9-147d574dba1b" providerId="ADAL" clId="{EA4215A8-E345-424E-903B-D7FDDE83AC3F}" dt="2021-10-29T22:55:21.974" v="937" actId="478"/>
          <ac:spMkLst>
            <pc:docMk/>
            <pc:sldMk cId="1776845696" sldId="2147469903"/>
            <ac:spMk id="45" creationId="{7EA5685B-9A9E-4D4C-8C36-74482E679ACB}"/>
          </ac:spMkLst>
        </pc:spChg>
        <pc:spChg chg="del">
          <ac:chgData name="Andrea Lum" userId="89002afe-ac3a-4767-b9c9-147d574dba1b" providerId="ADAL" clId="{EA4215A8-E345-424E-903B-D7FDDE83AC3F}" dt="2021-10-29T22:55:24.845" v="940" actId="478"/>
          <ac:spMkLst>
            <pc:docMk/>
            <pc:sldMk cId="1776845696" sldId="2147469903"/>
            <ac:spMk id="46" creationId="{D93D9249-12D5-4D26-99C8-68E65669C996}"/>
          </ac:spMkLst>
        </pc:spChg>
        <pc:spChg chg="del">
          <ac:chgData name="Andrea Lum" userId="89002afe-ac3a-4767-b9c9-147d574dba1b" providerId="ADAL" clId="{EA4215A8-E345-424E-903B-D7FDDE83AC3F}" dt="2021-10-29T22:55:23.447" v="938" actId="478"/>
          <ac:spMkLst>
            <pc:docMk/>
            <pc:sldMk cId="1776845696" sldId="2147469903"/>
            <ac:spMk id="47" creationId="{37F5D651-5782-478D-9AB4-4FA9C76A4DBB}"/>
          </ac:spMkLst>
        </pc:spChg>
        <pc:spChg chg="del mod">
          <ac:chgData name="Andrea Lum" userId="89002afe-ac3a-4767-b9c9-147d574dba1b" providerId="ADAL" clId="{EA4215A8-E345-424E-903B-D7FDDE83AC3F}" dt="2021-10-29T22:55:20.463" v="936" actId="478"/>
          <ac:spMkLst>
            <pc:docMk/>
            <pc:sldMk cId="1776845696" sldId="2147469903"/>
            <ac:spMk id="48" creationId="{E954EB30-9385-47A2-BF4B-DD711D0AA810}"/>
          </ac:spMkLst>
        </pc:spChg>
        <pc:spChg chg="del">
          <ac:chgData name="Andrea Lum" userId="89002afe-ac3a-4767-b9c9-147d574dba1b" providerId="ADAL" clId="{EA4215A8-E345-424E-903B-D7FDDE83AC3F}" dt="2021-10-29T22:55:24.369" v="939" actId="478"/>
          <ac:spMkLst>
            <pc:docMk/>
            <pc:sldMk cId="1776845696" sldId="2147469903"/>
            <ac:spMk id="50" creationId="{0B8AB729-8BB5-4B1D-805A-6B4E8B011788}"/>
          </ac:spMkLst>
        </pc:spChg>
        <pc:spChg chg="mod">
          <ac:chgData name="Andrea Lum" userId="89002afe-ac3a-4767-b9c9-147d574dba1b" providerId="ADAL" clId="{EA4215A8-E345-424E-903B-D7FDDE83AC3F}" dt="2021-10-29T22:57:10.734" v="1120" actId="1035"/>
          <ac:spMkLst>
            <pc:docMk/>
            <pc:sldMk cId="1776845696" sldId="2147469903"/>
            <ac:spMk id="51" creationId="{E0E52C26-E66B-4E4D-A7FE-0234BFA7221A}"/>
          </ac:spMkLst>
        </pc:spChg>
        <pc:picChg chg="add mod">
          <ac:chgData name="Andrea Lum" userId="89002afe-ac3a-4767-b9c9-147d574dba1b" providerId="ADAL" clId="{EA4215A8-E345-424E-903B-D7FDDE83AC3F}" dt="2021-10-29T22:59:18.198" v="1127" actId="1076"/>
          <ac:picMkLst>
            <pc:docMk/>
            <pc:sldMk cId="1776845696" sldId="2147469903"/>
            <ac:picMk id="5" creationId="{C0023DED-79F7-4DB7-A4CA-2F186BD7A5DB}"/>
          </ac:picMkLst>
        </pc:picChg>
      </pc:sldChg>
      <pc:sldChg chg="modNotesTx">
        <pc:chgData name="Andrea Lum" userId="89002afe-ac3a-4767-b9c9-147d574dba1b" providerId="ADAL" clId="{EA4215A8-E345-424E-903B-D7FDDE83AC3F}" dt="2021-11-02T16:57:07.558" v="2667" actId="20577"/>
        <pc:sldMkLst>
          <pc:docMk/>
          <pc:sldMk cId="1812494226" sldId="2147469905"/>
        </pc:sldMkLst>
      </pc:sldChg>
      <pc:sldChg chg="addSp modSp mod">
        <pc:chgData name="Andrea Lum" userId="89002afe-ac3a-4767-b9c9-147d574dba1b" providerId="ADAL" clId="{EA4215A8-E345-424E-903B-D7FDDE83AC3F}" dt="2021-11-01T18:55:22.646" v="1863" actId="20577"/>
        <pc:sldMkLst>
          <pc:docMk/>
          <pc:sldMk cId="343232248" sldId="2147469906"/>
        </pc:sldMkLst>
        <pc:spChg chg="add mod">
          <ac:chgData name="Andrea Lum" userId="89002afe-ac3a-4767-b9c9-147d574dba1b" providerId="ADAL" clId="{EA4215A8-E345-424E-903B-D7FDDE83AC3F}" dt="2021-11-01T18:55:22.646" v="1863" actId="20577"/>
          <ac:spMkLst>
            <pc:docMk/>
            <pc:sldMk cId="343232248" sldId="2147469906"/>
            <ac:spMk id="3" creationId="{8137D2EC-32E6-4694-834A-5148FB97D943}"/>
          </ac:spMkLst>
        </pc:spChg>
        <pc:spChg chg="add mod">
          <ac:chgData name="Andrea Lum" userId="89002afe-ac3a-4767-b9c9-147d574dba1b" providerId="ADAL" clId="{EA4215A8-E345-424E-903B-D7FDDE83AC3F}" dt="2021-11-01T18:35:51.528" v="1545" actId="1076"/>
          <ac:spMkLst>
            <pc:docMk/>
            <pc:sldMk cId="343232248" sldId="2147469906"/>
            <ac:spMk id="4" creationId="{68A946AC-AEE1-4799-B7D2-94062EB3A2A4}"/>
          </ac:spMkLst>
        </pc:spChg>
        <pc:spChg chg="mod">
          <ac:chgData name="Andrea Lum" userId="89002afe-ac3a-4767-b9c9-147d574dba1b" providerId="ADAL" clId="{EA4215A8-E345-424E-903B-D7FDDE83AC3F}" dt="2021-11-01T18:35:20.901" v="1529" actId="1035"/>
          <ac:spMkLst>
            <pc:docMk/>
            <pc:sldMk cId="343232248" sldId="2147469906"/>
            <ac:spMk id="88" creationId="{B21CF764-24E9-458F-BCF3-E684382F7F72}"/>
          </ac:spMkLst>
        </pc:spChg>
        <pc:spChg chg="mod">
          <ac:chgData name="Andrea Lum" userId="89002afe-ac3a-4767-b9c9-147d574dba1b" providerId="ADAL" clId="{EA4215A8-E345-424E-903B-D7FDDE83AC3F}" dt="2021-11-01T18:35:26.561" v="1540" actId="1035"/>
          <ac:spMkLst>
            <pc:docMk/>
            <pc:sldMk cId="343232248" sldId="2147469906"/>
            <ac:spMk id="91" creationId="{B8A537BC-F92B-46B3-9117-0FD1EAF19C8B}"/>
          </ac:spMkLst>
        </pc:spChg>
        <pc:spChg chg="mod">
          <ac:chgData name="Andrea Lum" userId="89002afe-ac3a-4767-b9c9-147d574dba1b" providerId="ADAL" clId="{EA4215A8-E345-424E-903B-D7FDDE83AC3F}" dt="2021-11-01T18:35:26.561" v="1540" actId="1035"/>
          <ac:spMkLst>
            <pc:docMk/>
            <pc:sldMk cId="343232248" sldId="2147469906"/>
            <ac:spMk id="94" creationId="{3D6D061F-BEB6-405B-A736-452CB7535793}"/>
          </ac:spMkLst>
        </pc:spChg>
        <pc:spChg chg="mod">
          <ac:chgData name="Andrea Lum" userId="89002afe-ac3a-4767-b9c9-147d574dba1b" providerId="ADAL" clId="{EA4215A8-E345-424E-903B-D7FDDE83AC3F}" dt="2021-11-01T18:38:30.098" v="1659" actId="20577"/>
          <ac:spMkLst>
            <pc:docMk/>
            <pc:sldMk cId="343232248" sldId="2147469906"/>
            <ac:spMk id="100" creationId="{47950A6B-1867-452D-B4F5-7D97503E53B3}"/>
          </ac:spMkLst>
        </pc:spChg>
        <pc:spChg chg="mod">
          <ac:chgData name="Andrea Lum" userId="89002afe-ac3a-4767-b9c9-147d574dba1b" providerId="ADAL" clId="{EA4215A8-E345-424E-903B-D7FDDE83AC3F}" dt="2021-11-01T18:38:43.208" v="1671" actId="1035"/>
          <ac:spMkLst>
            <pc:docMk/>
            <pc:sldMk cId="343232248" sldId="2147469906"/>
            <ac:spMk id="103" creationId="{FB9BB1D2-46FD-4904-8DFB-4EDC67B105E4}"/>
          </ac:spMkLst>
        </pc:spChg>
        <pc:spChg chg="mod">
          <ac:chgData name="Andrea Lum" userId="89002afe-ac3a-4767-b9c9-147d574dba1b" providerId="ADAL" clId="{EA4215A8-E345-424E-903B-D7FDDE83AC3F}" dt="2021-11-01T18:35:20.901" v="1529" actId="1035"/>
          <ac:spMkLst>
            <pc:docMk/>
            <pc:sldMk cId="343232248" sldId="2147469906"/>
            <ac:spMk id="117" creationId="{442D2696-972D-45DE-A0E3-64CC48FD7D80}"/>
          </ac:spMkLst>
        </pc:spChg>
        <pc:spChg chg="mod">
          <ac:chgData name="Andrea Lum" userId="89002afe-ac3a-4767-b9c9-147d574dba1b" providerId="ADAL" clId="{EA4215A8-E345-424E-903B-D7FDDE83AC3F}" dt="2021-11-01T18:35:26.561" v="1540" actId="1035"/>
          <ac:spMkLst>
            <pc:docMk/>
            <pc:sldMk cId="343232248" sldId="2147469906"/>
            <ac:spMk id="118" creationId="{292FA02A-AE7F-4378-94EA-65D56C692AF4}"/>
          </ac:spMkLst>
        </pc:spChg>
        <pc:spChg chg="mod">
          <ac:chgData name="Andrea Lum" userId="89002afe-ac3a-4767-b9c9-147d574dba1b" providerId="ADAL" clId="{EA4215A8-E345-424E-903B-D7FDDE83AC3F}" dt="2021-11-01T18:35:43.150" v="1543" actId="14100"/>
          <ac:spMkLst>
            <pc:docMk/>
            <pc:sldMk cId="343232248" sldId="2147469906"/>
            <ac:spMk id="124" creationId="{6FA65D8F-E304-483E-A2F2-8B30AA0969C0}"/>
          </ac:spMkLst>
        </pc:spChg>
        <pc:spChg chg="mod">
          <ac:chgData name="Andrea Lum" userId="89002afe-ac3a-4767-b9c9-147d574dba1b" providerId="ADAL" clId="{EA4215A8-E345-424E-903B-D7FDDE83AC3F}" dt="2021-11-01T18:35:26.561" v="1540" actId="1035"/>
          <ac:spMkLst>
            <pc:docMk/>
            <pc:sldMk cId="343232248" sldId="2147469906"/>
            <ac:spMk id="128" creationId="{C59DD45A-A734-4E37-BD50-1248E3091CCA}"/>
          </ac:spMkLst>
        </pc:spChg>
        <pc:spChg chg="mod">
          <ac:chgData name="Andrea Lum" userId="89002afe-ac3a-4767-b9c9-147d574dba1b" providerId="ADAL" clId="{EA4215A8-E345-424E-903B-D7FDDE83AC3F}" dt="2021-11-01T18:36:07.839" v="1551" actId="20577"/>
          <ac:spMkLst>
            <pc:docMk/>
            <pc:sldMk cId="343232248" sldId="2147469906"/>
            <ac:spMk id="131" creationId="{4A4C4D9D-D2E1-4CA1-B95C-739D6FC9E558}"/>
          </ac:spMkLst>
        </pc:spChg>
        <pc:spChg chg="mod">
          <ac:chgData name="Andrea Lum" userId="89002afe-ac3a-4767-b9c9-147d574dba1b" providerId="ADAL" clId="{EA4215A8-E345-424E-903B-D7FDDE83AC3F}" dt="2021-11-01T18:38:43.208" v="1671" actId="1035"/>
          <ac:spMkLst>
            <pc:docMk/>
            <pc:sldMk cId="343232248" sldId="2147469906"/>
            <ac:spMk id="134" creationId="{5A1A51E5-7582-41D7-8692-EE27325DFC56}"/>
          </ac:spMkLst>
        </pc:spChg>
        <pc:spChg chg="mod">
          <ac:chgData name="Andrea Lum" userId="89002afe-ac3a-4767-b9c9-147d574dba1b" providerId="ADAL" clId="{EA4215A8-E345-424E-903B-D7FDDE83AC3F}" dt="2021-11-01T18:35:29.933" v="1541" actId="14100"/>
          <ac:spMkLst>
            <pc:docMk/>
            <pc:sldMk cId="343232248" sldId="2147469906"/>
            <ac:spMk id="143" creationId="{63CC1B70-80B8-4011-8EBD-EF10F9F0EB10}"/>
          </ac:spMkLst>
        </pc:spChg>
        <pc:spChg chg="mod">
          <ac:chgData name="Andrea Lum" userId="89002afe-ac3a-4767-b9c9-147d574dba1b" providerId="ADAL" clId="{EA4215A8-E345-424E-903B-D7FDDE83AC3F}" dt="2021-11-01T18:38:53.622" v="1672" actId="14100"/>
          <ac:spMkLst>
            <pc:docMk/>
            <pc:sldMk cId="343232248" sldId="2147469906"/>
            <ac:spMk id="144" creationId="{AD4207EE-870A-48D2-B183-5B483AC6D7E6}"/>
          </ac:spMkLst>
        </pc:spChg>
      </pc:sldChg>
      <pc:sldChg chg="modSp del mod ord">
        <pc:chgData name="Andrea Lum" userId="89002afe-ac3a-4767-b9c9-147d574dba1b" providerId="ADAL" clId="{EA4215A8-E345-424E-903B-D7FDDE83AC3F}" dt="2021-11-01T19:05:50.145" v="2454" actId="47"/>
        <pc:sldMkLst>
          <pc:docMk/>
          <pc:sldMk cId="1986707845" sldId="2147469907"/>
        </pc:sldMkLst>
        <pc:spChg chg="mod">
          <ac:chgData name="Andrea Lum" userId="89002afe-ac3a-4767-b9c9-147d574dba1b" providerId="ADAL" clId="{EA4215A8-E345-424E-903B-D7FDDE83AC3F}" dt="2021-11-01T18:54:49.949" v="1826" actId="20577"/>
          <ac:spMkLst>
            <pc:docMk/>
            <pc:sldMk cId="1986707845" sldId="2147469907"/>
            <ac:spMk id="2" creationId="{40CDDC5A-8E26-4471-B9F5-B964397121A5}"/>
          </ac:spMkLst>
        </pc:spChg>
        <pc:spChg chg="mod">
          <ac:chgData name="Andrea Lum" userId="89002afe-ac3a-4767-b9c9-147d574dba1b" providerId="ADAL" clId="{EA4215A8-E345-424E-903B-D7FDDE83AC3F}" dt="2021-11-01T18:51:53.952" v="1763" actId="20577"/>
          <ac:spMkLst>
            <pc:docMk/>
            <pc:sldMk cId="1986707845" sldId="2147469907"/>
            <ac:spMk id="11" creationId="{4E82017E-A1D2-4168-8100-69349BB09A3C}"/>
          </ac:spMkLst>
        </pc:spChg>
      </pc:sldChg>
      <pc:sldChg chg="modSp add mod ord">
        <pc:chgData name="Andrea Lum" userId="89002afe-ac3a-4767-b9c9-147d574dba1b" providerId="ADAL" clId="{EA4215A8-E345-424E-903B-D7FDDE83AC3F}" dt="2021-11-01T18:40:07.487" v="1699" actId="20577"/>
        <pc:sldMkLst>
          <pc:docMk/>
          <pc:sldMk cId="3710697024" sldId="2147469909"/>
        </pc:sldMkLst>
        <pc:spChg chg="mod">
          <ac:chgData name="Andrea Lum" userId="89002afe-ac3a-4767-b9c9-147d574dba1b" providerId="ADAL" clId="{EA4215A8-E345-424E-903B-D7FDDE83AC3F}" dt="2021-11-01T18:40:07.487" v="1699" actId="20577"/>
          <ac:spMkLst>
            <pc:docMk/>
            <pc:sldMk cId="3710697024" sldId="2147469909"/>
            <ac:spMk id="2" creationId="{00000000-0000-0000-0000-000000000000}"/>
          </ac:spMkLst>
        </pc:spChg>
      </pc:sldChg>
      <pc:sldChg chg="add">
        <pc:chgData name="Andrea Lum" userId="89002afe-ac3a-4767-b9c9-147d574dba1b" providerId="ADAL" clId="{EA4215A8-E345-424E-903B-D7FDDE83AC3F}" dt="2021-11-01T18:38:09.171" v="1620" actId="2890"/>
        <pc:sldMkLst>
          <pc:docMk/>
          <pc:sldMk cId="2893929729" sldId="2147469910"/>
        </pc:sldMkLst>
      </pc:sldChg>
      <pc:sldChg chg="addSp modSp new mod">
        <pc:chgData name="Andrea Lum" userId="89002afe-ac3a-4767-b9c9-147d574dba1b" providerId="ADAL" clId="{EA4215A8-E345-424E-903B-D7FDDE83AC3F}" dt="2021-11-01T19:07:43.973" v="2499" actId="1076"/>
        <pc:sldMkLst>
          <pc:docMk/>
          <pc:sldMk cId="3583658365" sldId="2147469911"/>
        </pc:sldMkLst>
        <pc:spChg chg="mod">
          <ac:chgData name="Andrea Lum" userId="89002afe-ac3a-4767-b9c9-147d574dba1b" providerId="ADAL" clId="{EA4215A8-E345-424E-903B-D7FDDE83AC3F}" dt="2021-11-01T19:06:20.413" v="2473" actId="20577"/>
          <ac:spMkLst>
            <pc:docMk/>
            <pc:sldMk cId="3583658365" sldId="2147469911"/>
            <ac:spMk id="2" creationId="{4E74C601-04EE-47F4-8CEC-734112D7AE07}"/>
          </ac:spMkLst>
        </pc:spChg>
        <pc:spChg chg="mod">
          <ac:chgData name="Andrea Lum" userId="89002afe-ac3a-4767-b9c9-147d574dba1b" providerId="ADAL" clId="{EA4215A8-E345-424E-903B-D7FDDE83AC3F}" dt="2021-11-01T19:00:56.929" v="2291" actId="1076"/>
          <ac:spMkLst>
            <pc:docMk/>
            <pc:sldMk cId="3583658365" sldId="2147469911"/>
            <ac:spMk id="3" creationId="{B47E564D-4A8C-4628-93DE-8B4C71B91098}"/>
          </ac:spMkLst>
        </pc:spChg>
        <pc:spChg chg="add mod">
          <ac:chgData name="Andrea Lum" userId="89002afe-ac3a-4767-b9c9-147d574dba1b" providerId="ADAL" clId="{EA4215A8-E345-424E-903B-D7FDDE83AC3F}" dt="2021-11-01T19:04:51.443" v="2360" actId="1076"/>
          <ac:spMkLst>
            <pc:docMk/>
            <pc:sldMk cId="3583658365" sldId="2147469911"/>
            <ac:spMk id="10" creationId="{34372A5C-4F89-458E-BEB9-4CEEC01D0EE0}"/>
          </ac:spMkLst>
        </pc:spChg>
        <pc:spChg chg="add mod">
          <ac:chgData name="Andrea Lum" userId="89002afe-ac3a-4767-b9c9-147d574dba1b" providerId="ADAL" clId="{EA4215A8-E345-424E-903B-D7FDDE83AC3F}" dt="2021-11-01T19:05:04.629" v="2407" actId="20577"/>
          <ac:spMkLst>
            <pc:docMk/>
            <pc:sldMk cId="3583658365" sldId="2147469911"/>
            <ac:spMk id="12" creationId="{AC4D2BB8-9BA4-49FD-AAFC-7D681104D4B1}"/>
          </ac:spMkLst>
        </pc:spChg>
        <pc:spChg chg="add mod">
          <ac:chgData name="Andrea Lum" userId="89002afe-ac3a-4767-b9c9-147d574dba1b" providerId="ADAL" clId="{EA4215A8-E345-424E-903B-D7FDDE83AC3F}" dt="2021-11-01T19:06:11.449" v="2458" actId="1076"/>
          <ac:spMkLst>
            <pc:docMk/>
            <pc:sldMk cId="3583658365" sldId="2147469911"/>
            <ac:spMk id="14" creationId="{961EEEF0-C3BF-4422-80CA-4816F953E810}"/>
          </ac:spMkLst>
        </pc:spChg>
        <pc:spChg chg="add mod">
          <ac:chgData name="Andrea Lum" userId="89002afe-ac3a-4767-b9c9-147d574dba1b" providerId="ADAL" clId="{EA4215A8-E345-424E-903B-D7FDDE83AC3F}" dt="2021-11-01T19:07:43.973" v="2499" actId="1076"/>
          <ac:spMkLst>
            <pc:docMk/>
            <pc:sldMk cId="3583658365" sldId="2147469911"/>
            <ac:spMk id="18" creationId="{35A9C98F-9080-4D7B-B18D-E8B09F338BE9}"/>
          </ac:spMkLst>
        </pc:spChg>
        <pc:picChg chg="add mod">
          <ac:chgData name="Andrea Lum" userId="89002afe-ac3a-4767-b9c9-147d574dba1b" providerId="ADAL" clId="{EA4215A8-E345-424E-903B-D7FDDE83AC3F}" dt="2021-11-01T19:04:31.013" v="2321" actId="1076"/>
          <ac:picMkLst>
            <pc:docMk/>
            <pc:sldMk cId="3583658365" sldId="2147469911"/>
            <ac:picMk id="5" creationId="{521F0935-CFCB-48C1-880A-601923395A2E}"/>
          </ac:picMkLst>
        </pc:picChg>
        <pc:picChg chg="add mod">
          <ac:chgData name="Andrea Lum" userId="89002afe-ac3a-4767-b9c9-147d574dba1b" providerId="ADAL" clId="{EA4215A8-E345-424E-903B-D7FDDE83AC3F}" dt="2021-11-01T19:04:29.507" v="2320" actId="1076"/>
          <ac:picMkLst>
            <pc:docMk/>
            <pc:sldMk cId="3583658365" sldId="2147469911"/>
            <ac:picMk id="7" creationId="{EF87D144-5A71-40C4-9E3E-C03B372ED4AC}"/>
          </ac:picMkLst>
        </pc:picChg>
        <pc:picChg chg="add mod">
          <ac:chgData name="Andrea Lum" userId="89002afe-ac3a-4767-b9c9-147d574dba1b" providerId="ADAL" clId="{EA4215A8-E345-424E-903B-D7FDDE83AC3F}" dt="2021-11-01T19:06:06.816" v="2457" actId="1076"/>
          <ac:picMkLst>
            <pc:docMk/>
            <pc:sldMk cId="3583658365" sldId="2147469911"/>
            <ac:picMk id="9" creationId="{88F3E000-606B-40BE-884E-6D3C530F4530}"/>
          </ac:picMkLst>
        </pc:picChg>
        <pc:picChg chg="add mod">
          <ac:chgData name="Andrea Lum" userId="89002afe-ac3a-4767-b9c9-147d574dba1b" providerId="ADAL" clId="{EA4215A8-E345-424E-903B-D7FDDE83AC3F}" dt="2021-11-01T19:07:39.475" v="2498" actId="1076"/>
          <ac:picMkLst>
            <pc:docMk/>
            <pc:sldMk cId="3583658365" sldId="2147469911"/>
            <ac:picMk id="16" creationId="{963526DB-C67E-489E-9096-8A6518455AF8}"/>
          </ac:picMkLst>
        </pc:picChg>
      </pc:sldChg>
      <pc:sldMasterChg chg="delSldLayout">
        <pc:chgData name="Andrea Lum" userId="89002afe-ac3a-4767-b9c9-147d574dba1b" providerId="ADAL" clId="{EA4215A8-E345-424E-903B-D7FDDE83AC3F}" dt="2021-11-01T19:00:31.352" v="2215" actId="47"/>
        <pc:sldMasterMkLst>
          <pc:docMk/>
          <pc:sldMasterMk cId="82963114" sldId="2147484137"/>
        </pc:sldMasterMkLst>
        <pc:sldLayoutChg chg="del">
          <pc:chgData name="Andrea Lum" userId="89002afe-ac3a-4767-b9c9-147d574dba1b" providerId="ADAL" clId="{EA4215A8-E345-424E-903B-D7FDDE83AC3F}" dt="2021-11-01T19:00:31.352" v="2215" actId="47"/>
          <pc:sldLayoutMkLst>
            <pc:docMk/>
            <pc:sldMasterMk cId="82963114" sldId="2147484137"/>
            <pc:sldLayoutMk cId="3037274402" sldId="2147484186"/>
          </pc:sldLayoutMkLst>
        </pc:sldLayoutChg>
      </pc:sldMasterChg>
    </pc:docChg>
  </pc:docChgLst>
  <pc:docChgLst>
    <pc:chgData name="Andrea Lum" userId="89002afe-ac3a-4767-b9c9-147d574dba1b" providerId="ADAL" clId="{40EBE1AD-88D9-4083-99F3-2DCC2DFBE327}"/>
    <pc:docChg chg="undo custSel addSld delSld modSld sldOrd modSection">
      <pc:chgData name="Andrea Lum" userId="89002afe-ac3a-4767-b9c9-147d574dba1b" providerId="ADAL" clId="{40EBE1AD-88D9-4083-99F3-2DCC2DFBE327}" dt="2022-03-25T21:29:17.609" v="7647" actId="20577"/>
      <pc:docMkLst>
        <pc:docMk/>
      </pc:docMkLst>
      <pc:sldChg chg="modSp mod">
        <pc:chgData name="Andrea Lum" userId="89002afe-ac3a-4767-b9c9-147d574dba1b" providerId="ADAL" clId="{40EBE1AD-88D9-4083-99F3-2DCC2DFBE327}" dt="2022-03-25T21:21:34.687" v="7591" actId="20577"/>
        <pc:sldMkLst>
          <pc:docMk/>
          <pc:sldMk cId="2888529057" sldId="2134805529"/>
        </pc:sldMkLst>
        <pc:spChg chg="mod">
          <ac:chgData name="Andrea Lum" userId="89002afe-ac3a-4767-b9c9-147d574dba1b" providerId="ADAL" clId="{40EBE1AD-88D9-4083-99F3-2DCC2DFBE327}" dt="2022-03-25T21:21:34.687" v="7591" actId="20577"/>
          <ac:spMkLst>
            <pc:docMk/>
            <pc:sldMk cId="2888529057" sldId="2134805529"/>
            <ac:spMk id="3" creationId="{8F9F2716-F05F-4C33-8B1F-234E31737A28}"/>
          </ac:spMkLst>
        </pc:spChg>
      </pc:sldChg>
      <pc:sldChg chg="modSp mod">
        <pc:chgData name="Andrea Lum" userId="89002afe-ac3a-4767-b9c9-147d574dba1b" providerId="ADAL" clId="{40EBE1AD-88D9-4083-99F3-2DCC2DFBE327}" dt="2022-02-28T16:24:13.195" v="1636" actId="20577"/>
        <pc:sldMkLst>
          <pc:docMk/>
          <pc:sldMk cId="3627337113" sldId="2145706470"/>
        </pc:sldMkLst>
        <pc:spChg chg="mod">
          <ac:chgData name="Andrea Lum" userId="89002afe-ac3a-4767-b9c9-147d574dba1b" providerId="ADAL" clId="{40EBE1AD-88D9-4083-99F3-2DCC2DFBE327}" dt="2022-02-28T16:24:13.195" v="1636" actId="20577"/>
          <ac:spMkLst>
            <pc:docMk/>
            <pc:sldMk cId="3627337113" sldId="2145706470"/>
            <ac:spMk id="81" creationId="{3031B606-545E-4753-AC22-36E3DC5C6641}"/>
          </ac:spMkLst>
        </pc:spChg>
      </pc:sldChg>
      <pc:sldChg chg="modSp mod">
        <pc:chgData name="Andrea Lum" userId="89002afe-ac3a-4767-b9c9-147d574dba1b" providerId="ADAL" clId="{40EBE1AD-88D9-4083-99F3-2DCC2DFBE327}" dt="2022-03-25T21:02:40.032" v="6233" actId="20577"/>
        <pc:sldMkLst>
          <pc:docMk/>
          <pc:sldMk cId="2247568808" sldId="2145706491"/>
        </pc:sldMkLst>
        <pc:spChg chg="mod">
          <ac:chgData name="Andrea Lum" userId="89002afe-ac3a-4767-b9c9-147d574dba1b" providerId="ADAL" clId="{40EBE1AD-88D9-4083-99F3-2DCC2DFBE327}" dt="2022-03-25T21:02:40.032" v="6233" actId="20577"/>
          <ac:spMkLst>
            <pc:docMk/>
            <pc:sldMk cId="2247568808" sldId="2145706491"/>
            <ac:spMk id="8" creationId="{5A49A5FD-BF83-4FE5-933E-8D65FC743083}"/>
          </ac:spMkLst>
        </pc:spChg>
      </pc:sldChg>
      <pc:sldChg chg="modSp modAnim">
        <pc:chgData name="Andrea Lum" userId="89002afe-ac3a-4767-b9c9-147d574dba1b" providerId="ADAL" clId="{40EBE1AD-88D9-4083-99F3-2DCC2DFBE327}" dt="2022-03-25T21:10:50.580" v="6352" actId="20577"/>
        <pc:sldMkLst>
          <pc:docMk/>
          <pc:sldMk cId="2732924721" sldId="2147469873"/>
        </pc:sldMkLst>
        <pc:spChg chg="mod">
          <ac:chgData name="Andrea Lum" userId="89002afe-ac3a-4767-b9c9-147d574dba1b" providerId="ADAL" clId="{40EBE1AD-88D9-4083-99F3-2DCC2DFBE327}" dt="2022-03-25T21:10:50.580" v="6352" actId="20577"/>
          <ac:spMkLst>
            <pc:docMk/>
            <pc:sldMk cId="2732924721" sldId="2147469873"/>
            <ac:spMk id="26" creationId="{8AFCB849-CB1F-44E5-8652-B943FEA9CDA6}"/>
          </ac:spMkLst>
        </pc:spChg>
      </pc:sldChg>
      <pc:sldChg chg="modSp mod">
        <pc:chgData name="Andrea Lum" userId="89002afe-ac3a-4767-b9c9-147d574dba1b" providerId="ADAL" clId="{40EBE1AD-88D9-4083-99F3-2DCC2DFBE327}" dt="2022-02-28T17:33:58.482" v="3914" actId="207"/>
        <pc:sldMkLst>
          <pc:docMk/>
          <pc:sldMk cId="159787730" sldId="2147469882"/>
        </pc:sldMkLst>
        <pc:spChg chg="mod">
          <ac:chgData name="Andrea Lum" userId="89002afe-ac3a-4767-b9c9-147d574dba1b" providerId="ADAL" clId="{40EBE1AD-88D9-4083-99F3-2DCC2DFBE327}" dt="2022-02-28T17:33:58.482" v="3914" actId="207"/>
          <ac:spMkLst>
            <pc:docMk/>
            <pc:sldMk cId="159787730" sldId="2147469882"/>
            <ac:spMk id="5" creationId="{87FED681-E743-4A4A-AE8E-A317F6EF35E3}"/>
          </ac:spMkLst>
        </pc:spChg>
      </pc:sldChg>
      <pc:sldChg chg="modSp mod ord">
        <pc:chgData name="Andrea Lum" userId="89002afe-ac3a-4767-b9c9-147d574dba1b" providerId="ADAL" clId="{40EBE1AD-88D9-4083-99F3-2DCC2DFBE327}" dt="2022-03-25T19:13:47.098" v="4960" actId="14734"/>
        <pc:sldMkLst>
          <pc:docMk/>
          <pc:sldMk cId="1672915506" sldId="2147469886"/>
        </pc:sldMkLst>
        <pc:spChg chg="mod">
          <ac:chgData name="Andrea Lum" userId="89002afe-ac3a-4767-b9c9-147d574dba1b" providerId="ADAL" clId="{40EBE1AD-88D9-4083-99F3-2DCC2DFBE327}" dt="2022-02-28T16:45:30.584" v="1712" actId="20577"/>
          <ac:spMkLst>
            <pc:docMk/>
            <pc:sldMk cId="1672915506" sldId="2147469886"/>
            <ac:spMk id="2" creationId="{40CDDC5A-8E26-4471-B9F5-B964397121A5}"/>
          </ac:spMkLst>
        </pc:spChg>
        <pc:spChg chg="mod">
          <ac:chgData name="Andrea Lum" userId="89002afe-ac3a-4767-b9c9-147d574dba1b" providerId="ADAL" clId="{40EBE1AD-88D9-4083-99F3-2DCC2DFBE327}" dt="2022-02-25T18:19:09.122" v="1337" actId="115"/>
          <ac:spMkLst>
            <pc:docMk/>
            <pc:sldMk cId="1672915506" sldId="2147469886"/>
            <ac:spMk id="7" creationId="{8644A753-488A-4893-BF9C-BDE49319784C}"/>
          </ac:spMkLst>
        </pc:spChg>
        <pc:spChg chg="mod">
          <ac:chgData name="Andrea Lum" userId="89002afe-ac3a-4767-b9c9-147d574dba1b" providerId="ADAL" clId="{40EBE1AD-88D9-4083-99F3-2DCC2DFBE327}" dt="2022-02-25T18:20:22.371" v="1428" actId="1035"/>
          <ac:spMkLst>
            <pc:docMk/>
            <pc:sldMk cId="1672915506" sldId="2147469886"/>
            <ac:spMk id="12" creationId="{9869B7A9-5E3C-4273-BFB3-7B5824D287F8}"/>
          </ac:spMkLst>
        </pc:spChg>
        <pc:spChg chg="mod">
          <ac:chgData name="Andrea Lum" userId="89002afe-ac3a-4767-b9c9-147d574dba1b" providerId="ADAL" clId="{40EBE1AD-88D9-4083-99F3-2DCC2DFBE327}" dt="2022-03-25T19:11:53.996" v="4750" actId="14100"/>
          <ac:spMkLst>
            <pc:docMk/>
            <pc:sldMk cId="1672915506" sldId="2147469886"/>
            <ac:spMk id="15" creationId="{E48E868C-7B95-4D2F-83B6-D88E609C141E}"/>
          </ac:spMkLst>
        </pc:spChg>
        <pc:spChg chg="mod">
          <ac:chgData name="Andrea Lum" userId="89002afe-ac3a-4767-b9c9-147d574dba1b" providerId="ADAL" clId="{40EBE1AD-88D9-4083-99F3-2DCC2DFBE327}" dt="2022-03-25T19:11:57.715" v="4751" actId="14100"/>
          <ac:spMkLst>
            <pc:docMk/>
            <pc:sldMk cId="1672915506" sldId="2147469886"/>
            <ac:spMk id="16" creationId="{33B31700-5A2B-4227-8C35-0EC43CBBAE77}"/>
          </ac:spMkLst>
        </pc:spChg>
        <pc:graphicFrameChg chg="mod modGraphic">
          <ac:chgData name="Andrea Lum" userId="89002afe-ac3a-4767-b9c9-147d574dba1b" providerId="ADAL" clId="{40EBE1AD-88D9-4083-99F3-2DCC2DFBE327}" dt="2022-03-25T19:13:47.098" v="4960" actId="14734"/>
          <ac:graphicFrameMkLst>
            <pc:docMk/>
            <pc:sldMk cId="1672915506" sldId="2147469886"/>
            <ac:graphicFrameMk id="8" creationId="{4BD0150A-C9F7-4407-BBE1-89421A8D5A0E}"/>
          </ac:graphicFrameMkLst>
        </pc:graphicFrameChg>
      </pc:sldChg>
      <pc:sldChg chg="modAnim">
        <pc:chgData name="Andrea Lum" userId="89002afe-ac3a-4767-b9c9-147d574dba1b" providerId="ADAL" clId="{40EBE1AD-88D9-4083-99F3-2DCC2DFBE327}" dt="2022-03-25T21:09:42.392" v="6243"/>
        <pc:sldMkLst>
          <pc:docMk/>
          <pc:sldMk cId="1149280904" sldId="2147469900"/>
        </pc:sldMkLst>
      </pc:sldChg>
      <pc:sldChg chg="modSp mod">
        <pc:chgData name="Andrea Lum" userId="89002afe-ac3a-4767-b9c9-147d574dba1b" providerId="ADAL" clId="{40EBE1AD-88D9-4083-99F3-2DCC2DFBE327}" dt="2022-02-28T16:50:54.638" v="1903" actId="20577"/>
        <pc:sldMkLst>
          <pc:docMk/>
          <pc:sldMk cId="1520289119" sldId="2147469902"/>
        </pc:sldMkLst>
        <pc:spChg chg="mod">
          <ac:chgData name="Andrea Lum" userId="89002afe-ac3a-4767-b9c9-147d574dba1b" providerId="ADAL" clId="{40EBE1AD-88D9-4083-99F3-2DCC2DFBE327}" dt="2022-02-28T16:46:20.736" v="1721" actId="20577"/>
          <ac:spMkLst>
            <pc:docMk/>
            <pc:sldMk cId="1520289119" sldId="2147469902"/>
            <ac:spMk id="76" creationId="{184CC5C2-4855-4D45-90C8-D846BE15BEAB}"/>
          </ac:spMkLst>
        </pc:spChg>
        <pc:spChg chg="mod">
          <ac:chgData name="Andrea Lum" userId="89002afe-ac3a-4767-b9c9-147d574dba1b" providerId="ADAL" clId="{40EBE1AD-88D9-4083-99F3-2DCC2DFBE327}" dt="2022-02-28T16:50:54.638" v="1903" actId="20577"/>
          <ac:spMkLst>
            <pc:docMk/>
            <pc:sldMk cId="1520289119" sldId="2147469902"/>
            <ac:spMk id="97" creationId="{8203C1FB-E654-48B9-95AC-25AE02D6A36F}"/>
          </ac:spMkLst>
        </pc:spChg>
        <pc:spChg chg="mod">
          <ac:chgData name="Andrea Lum" userId="89002afe-ac3a-4767-b9c9-147d574dba1b" providerId="ADAL" clId="{40EBE1AD-88D9-4083-99F3-2DCC2DFBE327}" dt="2022-02-25T18:05:52.440" v="217" actId="20577"/>
          <ac:spMkLst>
            <pc:docMk/>
            <pc:sldMk cId="1520289119" sldId="2147469902"/>
            <ac:spMk id="112" creationId="{EA6C1BEA-0E4B-4D4D-AEDE-1834E3B75F3D}"/>
          </ac:spMkLst>
        </pc:spChg>
        <pc:spChg chg="mod">
          <ac:chgData name="Andrea Lum" userId="89002afe-ac3a-4767-b9c9-147d574dba1b" providerId="ADAL" clId="{40EBE1AD-88D9-4083-99F3-2DCC2DFBE327}" dt="2022-02-25T18:06:21.298" v="222" actId="12"/>
          <ac:spMkLst>
            <pc:docMk/>
            <pc:sldMk cId="1520289119" sldId="2147469902"/>
            <ac:spMk id="113" creationId="{9838268D-D655-4CC1-84F2-0E14FFD98D99}"/>
          </ac:spMkLst>
        </pc:spChg>
        <pc:spChg chg="mod">
          <ac:chgData name="Andrea Lum" userId="89002afe-ac3a-4767-b9c9-147d574dba1b" providerId="ADAL" clId="{40EBE1AD-88D9-4083-99F3-2DCC2DFBE327}" dt="2022-02-25T18:06:24.666" v="224"/>
          <ac:spMkLst>
            <pc:docMk/>
            <pc:sldMk cId="1520289119" sldId="2147469902"/>
            <ac:spMk id="114" creationId="{0569B8E3-86FC-4B12-A92B-A50820453EE5}"/>
          </ac:spMkLst>
        </pc:spChg>
      </pc:sldChg>
      <pc:sldChg chg="modSp mod">
        <pc:chgData name="Andrea Lum" userId="89002afe-ac3a-4767-b9c9-147d574dba1b" providerId="ADAL" clId="{40EBE1AD-88D9-4083-99F3-2DCC2DFBE327}" dt="2022-02-28T18:05:54.696" v="4457" actId="1076"/>
        <pc:sldMkLst>
          <pc:docMk/>
          <pc:sldMk cId="1776845696" sldId="2147469903"/>
        </pc:sldMkLst>
        <pc:spChg chg="mod">
          <ac:chgData name="Andrea Lum" userId="89002afe-ac3a-4767-b9c9-147d574dba1b" providerId="ADAL" clId="{40EBE1AD-88D9-4083-99F3-2DCC2DFBE327}" dt="2022-02-28T18:05:54.696" v="4457" actId="1076"/>
          <ac:spMkLst>
            <pc:docMk/>
            <pc:sldMk cId="1776845696" sldId="2147469903"/>
            <ac:spMk id="4" creationId="{AF0D7192-9EA5-4939-99DB-3B8460809F07}"/>
          </ac:spMkLst>
        </pc:spChg>
        <pc:spChg chg="mod">
          <ac:chgData name="Andrea Lum" userId="89002afe-ac3a-4767-b9c9-147d574dba1b" providerId="ADAL" clId="{40EBE1AD-88D9-4083-99F3-2DCC2DFBE327}" dt="2022-02-28T18:05:51.788" v="4456" actId="14100"/>
          <ac:spMkLst>
            <pc:docMk/>
            <pc:sldMk cId="1776845696" sldId="2147469903"/>
            <ac:spMk id="38" creationId="{62EF74CA-CB6F-47D9-AADB-EEC1DACD6E24}"/>
          </ac:spMkLst>
        </pc:spChg>
        <pc:spChg chg="mod">
          <ac:chgData name="Andrea Lum" userId="89002afe-ac3a-4767-b9c9-147d574dba1b" providerId="ADAL" clId="{40EBE1AD-88D9-4083-99F3-2DCC2DFBE327}" dt="2022-02-28T18:05:47.719" v="4455" actId="1076"/>
          <ac:spMkLst>
            <pc:docMk/>
            <pc:sldMk cId="1776845696" sldId="2147469903"/>
            <ac:spMk id="43" creationId="{81F49149-F6E8-4C83-AA1A-D712676FFB68}"/>
          </ac:spMkLst>
        </pc:spChg>
        <pc:picChg chg="mod">
          <ac:chgData name="Andrea Lum" userId="89002afe-ac3a-4767-b9c9-147d574dba1b" providerId="ADAL" clId="{40EBE1AD-88D9-4083-99F3-2DCC2DFBE327}" dt="2022-02-28T18:05:54.696" v="4457" actId="1076"/>
          <ac:picMkLst>
            <pc:docMk/>
            <pc:sldMk cId="1776845696" sldId="2147469903"/>
            <ac:picMk id="5" creationId="{C0023DED-79F7-4DB7-A4CA-2F186BD7A5DB}"/>
          </ac:picMkLst>
        </pc:picChg>
      </pc:sldChg>
      <pc:sldChg chg="modSp mod">
        <pc:chgData name="Andrea Lum" userId="89002afe-ac3a-4767-b9c9-147d574dba1b" providerId="ADAL" clId="{40EBE1AD-88D9-4083-99F3-2DCC2DFBE327}" dt="2022-03-25T21:29:17.609" v="7647" actId="20577"/>
        <pc:sldMkLst>
          <pc:docMk/>
          <pc:sldMk cId="343232248" sldId="2147469906"/>
        </pc:sldMkLst>
        <pc:spChg chg="mod">
          <ac:chgData name="Andrea Lum" userId="89002afe-ac3a-4767-b9c9-147d574dba1b" providerId="ADAL" clId="{40EBE1AD-88D9-4083-99F3-2DCC2DFBE327}" dt="2022-03-25T21:29:17.609" v="7647" actId="20577"/>
          <ac:spMkLst>
            <pc:docMk/>
            <pc:sldMk cId="343232248" sldId="2147469906"/>
            <ac:spMk id="3" creationId="{8137D2EC-32E6-4694-834A-5148FB97D943}"/>
          </ac:spMkLst>
        </pc:spChg>
        <pc:spChg chg="mod">
          <ac:chgData name="Andrea Lum" userId="89002afe-ac3a-4767-b9c9-147d574dba1b" providerId="ADAL" clId="{40EBE1AD-88D9-4083-99F3-2DCC2DFBE327}" dt="2022-02-28T17:43:04.602" v="3975" actId="20577"/>
          <ac:spMkLst>
            <pc:docMk/>
            <pc:sldMk cId="343232248" sldId="2147469906"/>
            <ac:spMk id="88" creationId="{B21CF764-24E9-458F-BCF3-E684382F7F72}"/>
          </ac:spMkLst>
        </pc:spChg>
        <pc:spChg chg="mod">
          <ac:chgData name="Andrea Lum" userId="89002afe-ac3a-4767-b9c9-147d574dba1b" providerId="ADAL" clId="{40EBE1AD-88D9-4083-99F3-2DCC2DFBE327}" dt="2022-02-28T17:42:48.033" v="3971" actId="1036"/>
          <ac:spMkLst>
            <pc:docMk/>
            <pc:sldMk cId="343232248" sldId="2147469906"/>
            <ac:spMk id="91" creationId="{B8A537BC-F92B-46B3-9117-0FD1EAF19C8B}"/>
          </ac:spMkLst>
        </pc:spChg>
        <pc:spChg chg="mod">
          <ac:chgData name="Andrea Lum" userId="89002afe-ac3a-4767-b9c9-147d574dba1b" providerId="ADAL" clId="{40EBE1AD-88D9-4083-99F3-2DCC2DFBE327}" dt="2022-02-28T17:42:48.033" v="3971" actId="1036"/>
          <ac:spMkLst>
            <pc:docMk/>
            <pc:sldMk cId="343232248" sldId="2147469906"/>
            <ac:spMk id="94" creationId="{3D6D061F-BEB6-405B-A736-452CB7535793}"/>
          </ac:spMkLst>
        </pc:spChg>
        <pc:spChg chg="mod">
          <ac:chgData name="Andrea Lum" userId="89002afe-ac3a-4767-b9c9-147d574dba1b" providerId="ADAL" clId="{40EBE1AD-88D9-4083-99F3-2DCC2DFBE327}" dt="2022-03-25T21:28:03.878" v="7611" actId="20577"/>
          <ac:spMkLst>
            <pc:docMk/>
            <pc:sldMk cId="343232248" sldId="2147469906"/>
            <ac:spMk id="100" creationId="{47950A6B-1867-452D-B4F5-7D97503E53B3}"/>
          </ac:spMkLst>
        </pc:spChg>
        <pc:spChg chg="mod">
          <ac:chgData name="Andrea Lum" userId="89002afe-ac3a-4767-b9c9-147d574dba1b" providerId="ADAL" clId="{40EBE1AD-88D9-4083-99F3-2DCC2DFBE327}" dt="2022-02-25T18:16:08.191" v="1097" actId="1036"/>
          <ac:spMkLst>
            <pc:docMk/>
            <pc:sldMk cId="343232248" sldId="2147469906"/>
            <ac:spMk id="103" creationId="{FB9BB1D2-46FD-4904-8DFB-4EDC67B105E4}"/>
          </ac:spMkLst>
        </pc:spChg>
        <pc:spChg chg="mod">
          <ac:chgData name="Andrea Lum" userId="89002afe-ac3a-4767-b9c9-147d574dba1b" providerId="ADAL" clId="{40EBE1AD-88D9-4083-99F3-2DCC2DFBE327}" dt="2022-02-28T17:42:48.033" v="3971" actId="1036"/>
          <ac:spMkLst>
            <pc:docMk/>
            <pc:sldMk cId="343232248" sldId="2147469906"/>
            <ac:spMk id="118" creationId="{292FA02A-AE7F-4378-94EA-65D56C692AF4}"/>
          </ac:spMkLst>
        </pc:spChg>
        <pc:spChg chg="mod">
          <ac:chgData name="Andrea Lum" userId="89002afe-ac3a-4767-b9c9-147d574dba1b" providerId="ADAL" clId="{40EBE1AD-88D9-4083-99F3-2DCC2DFBE327}" dt="2022-02-28T17:42:53.500" v="3972" actId="14100"/>
          <ac:spMkLst>
            <pc:docMk/>
            <pc:sldMk cId="343232248" sldId="2147469906"/>
            <ac:spMk id="124" creationId="{6FA65D8F-E304-483E-A2F2-8B30AA0969C0}"/>
          </ac:spMkLst>
        </pc:spChg>
        <pc:spChg chg="mod">
          <ac:chgData name="Andrea Lum" userId="89002afe-ac3a-4767-b9c9-147d574dba1b" providerId="ADAL" clId="{40EBE1AD-88D9-4083-99F3-2DCC2DFBE327}" dt="2022-02-28T17:42:48.033" v="3971" actId="1036"/>
          <ac:spMkLst>
            <pc:docMk/>
            <pc:sldMk cId="343232248" sldId="2147469906"/>
            <ac:spMk id="128" creationId="{C59DD45A-A734-4E37-BD50-1248E3091CCA}"/>
          </ac:spMkLst>
        </pc:spChg>
        <pc:spChg chg="mod">
          <ac:chgData name="Andrea Lum" userId="89002afe-ac3a-4767-b9c9-147d574dba1b" providerId="ADAL" clId="{40EBE1AD-88D9-4083-99F3-2DCC2DFBE327}" dt="2022-02-25T18:16:08.191" v="1097" actId="1036"/>
          <ac:spMkLst>
            <pc:docMk/>
            <pc:sldMk cId="343232248" sldId="2147469906"/>
            <ac:spMk id="131" creationId="{4A4C4D9D-D2E1-4CA1-B95C-739D6FC9E558}"/>
          </ac:spMkLst>
        </pc:spChg>
        <pc:spChg chg="mod">
          <ac:chgData name="Andrea Lum" userId="89002afe-ac3a-4767-b9c9-147d574dba1b" providerId="ADAL" clId="{40EBE1AD-88D9-4083-99F3-2DCC2DFBE327}" dt="2022-02-25T18:16:08.191" v="1097" actId="1036"/>
          <ac:spMkLst>
            <pc:docMk/>
            <pc:sldMk cId="343232248" sldId="2147469906"/>
            <ac:spMk id="134" creationId="{5A1A51E5-7582-41D7-8692-EE27325DFC56}"/>
          </ac:spMkLst>
        </pc:spChg>
        <pc:spChg chg="mod">
          <ac:chgData name="Andrea Lum" userId="89002afe-ac3a-4767-b9c9-147d574dba1b" providerId="ADAL" clId="{40EBE1AD-88D9-4083-99F3-2DCC2DFBE327}" dt="2022-02-28T17:42:58.372" v="3974" actId="14100"/>
          <ac:spMkLst>
            <pc:docMk/>
            <pc:sldMk cId="343232248" sldId="2147469906"/>
            <ac:spMk id="143" creationId="{63CC1B70-80B8-4011-8EBD-EF10F9F0EB10}"/>
          </ac:spMkLst>
        </pc:spChg>
      </pc:sldChg>
      <pc:sldChg chg="addSp delSp modSp mod">
        <pc:chgData name="Andrea Lum" userId="89002afe-ac3a-4767-b9c9-147d574dba1b" providerId="ADAL" clId="{40EBE1AD-88D9-4083-99F3-2DCC2DFBE327}" dt="2022-03-25T21:21:08.663" v="7578" actId="1076"/>
        <pc:sldMkLst>
          <pc:docMk/>
          <pc:sldMk cId="2893929729" sldId="2147469910"/>
        </pc:sldMkLst>
        <pc:spChg chg="mod">
          <ac:chgData name="Andrea Lum" userId="89002afe-ac3a-4767-b9c9-147d574dba1b" providerId="ADAL" clId="{40EBE1AD-88D9-4083-99F3-2DCC2DFBE327}" dt="2022-03-25T20:36:17.739" v="5317" actId="20577"/>
          <ac:spMkLst>
            <pc:docMk/>
            <pc:sldMk cId="2893929729" sldId="2147469910"/>
            <ac:spMk id="2" creationId="{40CDDC5A-8E26-4471-B9F5-B964397121A5}"/>
          </ac:spMkLst>
        </pc:spChg>
        <pc:spChg chg="topLvl">
          <ac:chgData name="Andrea Lum" userId="89002afe-ac3a-4767-b9c9-147d574dba1b" providerId="ADAL" clId="{40EBE1AD-88D9-4083-99F3-2DCC2DFBE327}" dt="2022-03-25T20:44:01.449" v="6166" actId="478"/>
          <ac:spMkLst>
            <pc:docMk/>
            <pc:sldMk cId="2893929729" sldId="2147469910"/>
            <ac:spMk id="5" creationId="{87FED681-E743-4A4A-AE8E-A317F6EF35E3}"/>
          </ac:spMkLst>
        </pc:spChg>
        <pc:spChg chg="mod">
          <ac:chgData name="Andrea Lum" userId="89002afe-ac3a-4767-b9c9-147d574dba1b" providerId="ADAL" clId="{40EBE1AD-88D9-4083-99F3-2DCC2DFBE327}" dt="2022-03-25T20:45:24.101" v="6228" actId="20577"/>
          <ac:spMkLst>
            <pc:docMk/>
            <pc:sldMk cId="2893929729" sldId="2147469910"/>
            <ac:spMk id="11" creationId="{4E82017E-A1D2-4168-8100-69349BB09A3C}"/>
          </ac:spMkLst>
        </pc:spChg>
        <pc:spChg chg="mod">
          <ac:chgData name="Andrea Lum" userId="89002afe-ac3a-4767-b9c9-147d574dba1b" providerId="ADAL" clId="{40EBE1AD-88D9-4083-99F3-2DCC2DFBE327}" dt="2022-03-25T20:39:14.958" v="5997" actId="20577"/>
          <ac:spMkLst>
            <pc:docMk/>
            <pc:sldMk cId="2893929729" sldId="2147469910"/>
            <ac:spMk id="16" creationId="{774F1AD5-CE8E-48D7-986C-D56D223E2999}"/>
          </ac:spMkLst>
        </pc:spChg>
        <pc:spChg chg="mod">
          <ac:chgData name="Andrea Lum" userId="89002afe-ac3a-4767-b9c9-147d574dba1b" providerId="ADAL" clId="{40EBE1AD-88D9-4083-99F3-2DCC2DFBE327}" dt="2022-03-25T21:20:39.450" v="7570" actId="20577"/>
          <ac:spMkLst>
            <pc:docMk/>
            <pc:sldMk cId="2893929729" sldId="2147469910"/>
            <ac:spMk id="17" creationId="{C4132C4F-4E0C-4BB6-B151-844EDB6430CA}"/>
          </ac:spMkLst>
        </pc:spChg>
        <pc:spChg chg="mod">
          <ac:chgData name="Andrea Lum" userId="89002afe-ac3a-4767-b9c9-147d574dba1b" providerId="ADAL" clId="{40EBE1AD-88D9-4083-99F3-2DCC2DFBE327}" dt="2022-03-25T21:21:08.663" v="7578" actId="1076"/>
          <ac:spMkLst>
            <pc:docMk/>
            <pc:sldMk cId="2893929729" sldId="2147469910"/>
            <ac:spMk id="19" creationId="{2F9C1A86-E42B-414E-9D48-A4023C5242B1}"/>
          </ac:spMkLst>
        </pc:spChg>
        <pc:spChg chg="mod">
          <ac:chgData name="Andrea Lum" userId="89002afe-ac3a-4767-b9c9-147d574dba1b" providerId="ADAL" clId="{40EBE1AD-88D9-4083-99F3-2DCC2DFBE327}" dt="2022-03-25T20:41:41.975" v="6162" actId="20577"/>
          <ac:spMkLst>
            <pc:docMk/>
            <pc:sldMk cId="2893929729" sldId="2147469910"/>
            <ac:spMk id="36" creationId="{5BFF691C-2CE4-408F-8799-83A0608666D0}"/>
          </ac:spMkLst>
        </pc:spChg>
        <pc:grpChg chg="add del">
          <ac:chgData name="Andrea Lum" userId="89002afe-ac3a-4767-b9c9-147d574dba1b" providerId="ADAL" clId="{40EBE1AD-88D9-4083-99F3-2DCC2DFBE327}" dt="2022-03-25T20:44:01.449" v="6166" actId="478"/>
          <ac:grpSpMkLst>
            <pc:docMk/>
            <pc:sldMk cId="2893929729" sldId="2147469910"/>
            <ac:grpSpMk id="4" creationId="{B4BB695A-C948-43DE-AF58-194F321C38C2}"/>
          </ac:grpSpMkLst>
        </pc:grpChg>
        <pc:grpChg chg="del">
          <ac:chgData name="Andrea Lum" userId="89002afe-ac3a-4767-b9c9-147d574dba1b" providerId="ADAL" clId="{40EBE1AD-88D9-4083-99F3-2DCC2DFBE327}" dt="2022-03-25T20:41:40.129" v="6160" actId="478"/>
          <ac:grpSpMkLst>
            <pc:docMk/>
            <pc:sldMk cId="2893929729" sldId="2147469910"/>
            <ac:grpSpMk id="14" creationId="{7C0F7150-A9C9-4C60-AF6B-5AF4E76FB365}"/>
          </ac:grpSpMkLst>
        </pc:grpChg>
        <pc:grpChg chg="mod">
          <ac:chgData name="Andrea Lum" userId="89002afe-ac3a-4767-b9c9-147d574dba1b" providerId="ADAL" clId="{40EBE1AD-88D9-4083-99F3-2DCC2DFBE327}" dt="2022-03-25T21:21:04.927" v="7577" actId="1076"/>
          <ac:grpSpMkLst>
            <pc:docMk/>
            <pc:sldMk cId="2893929729" sldId="2147469910"/>
            <ac:grpSpMk id="21" creationId="{ABABD593-0FBD-44B2-9C43-F1EBB6960711}"/>
          </ac:grpSpMkLst>
        </pc:grpChg>
        <pc:grpChg chg="del">
          <ac:chgData name="Andrea Lum" userId="89002afe-ac3a-4767-b9c9-147d574dba1b" providerId="ADAL" clId="{40EBE1AD-88D9-4083-99F3-2DCC2DFBE327}" dt="2022-03-25T20:39:20.188" v="5998" actId="478"/>
          <ac:grpSpMkLst>
            <pc:docMk/>
            <pc:sldMk cId="2893929729" sldId="2147469910"/>
            <ac:grpSpMk id="22" creationId="{81B21456-BA5E-492E-B57A-C5DC94CA541C}"/>
          </ac:grpSpMkLst>
        </pc:grpChg>
        <pc:grpChg chg="mod ord">
          <ac:chgData name="Andrea Lum" userId="89002afe-ac3a-4767-b9c9-147d574dba1b" providerId="ADAL" clId="{40EBE1AD-88D9-4083-99F3-2DCC2DFBE327}" dt="2022-03-25T21:20:51.662" v="7575" actId="167"/>
          <ac:grpSpMkLst>
            <pc:docMk/>
            <pc:sldMk cId="2893929729" sldId="2147469910"/>
            <ac:grpSpMk id="23" creationId="{57318D9D-4441-4BF5-B50B-C6967D4C67A2}"/>
          </ac:grpSpMkLst>
        </pc:grpChg>
        <pc:grpChg chg="mod ord">
          <ac:chgData name="Andrea Lum" userId="89002afe-ac3a-4767-b9c9-147d574dba1b" providerId="ADAL" clId="{40EBE1AD-88D9-4083-99F3-2DCC2DFBE327}" dt="2022-03-25T20:40:11.418" v="6004" actId="1076"/>
          <ac:grpSpMkLst>
            <pc:docMk/>
            <pc:sldMk cId="2893929729" sldId="2147469910"/>
            <ac:grpSpMk id="24" creationId="{AEE09FB7-1BF8-48F1-A045-FF475D851AD1}"/>
          </ac:grpSpMkLst>
        </pc:grpChg>
        <pc:picChg chg="del topLvl">
          <ac:chgData name="Andrea Lum" userId="89002afe-ac3a-4767-b9c9-147d574dba1b" providerId="ADAL" clId="{40EBE1AD-88D9-4083-99F3-2DCC2DFBE327}" dt="2022-03-25T20:44:01.449" v="6166" actId="478"/>
          <ac:picMkLst>
            <pc:docMk/>
            <pc:sldMk cId="2893929729" sldId="2147469910"/>
            <ac:picMk id="15" creationId="{A3717D74-C4EA-42F3-B85C-35009558F3F8}"/>
          </ac:picMkLst>
        </pc:picChg>
        <pc:picChg chg="add mod">
          <ac:chgData name="Andrea Lum" userId="89002afe-ac3a-4767-b9c9-147d574dba1b" providerId="ADAL" clId="{40EBE1AD-88D9-4083-99F3-2DCC2DFBE327}" dt="2022-03-25T20:44:31.660" v="6173" actId="732"/>
          <ac:picMkLst>
            <pc:docMk/>
            <pc:sldMk cId="2893929729" sldId="2147469910"/>
            <ac:picMk id="2050" creationId="{596E3777-C932-4DCC-802C-22D1002E8D04}"/>
          </ac:picMkLst>
        </pc:picChg>
        <pc:cxnChg chg="del">
          <ac:chgData name="Andrea Lum" userId="89002afe-ac3a-4767-b9c9-147d574dba1b" providerId="ADAL" clId="{40EBE1AD-88D9-4083-99F3-2DCC2DFBE327}" dt="2022-03-25T20:39:39.401" v="6003" actId="478"/>
          <ac:cxnSpMkLst>
            <pc:docMk/>
            <pc:sldMk cId="2893929729" sldId="2147469910"/>
            <ac:cxnSpMk id="37" creationId="{80D2DC0C-AFE9-41F5-8DFF-C8A4997D878B}"/>
          </ac:cxnSpMkLst>
        </pc:cxnChg>
        <pc:cxnChg chg="del">
          <ac:chgData name="Andrea Lum" userId="89002afe-ac3a-4767-b9c9-147d574dba1b" providerId="ADAL" clId="{40EBE1AD-88D9-4083-99F3-2DCC2DFBE327}" dt="2022-03-25T20:38:07.427" v="5710" actId="478"/>
          <ac:cxnSpMkLst>
            <pc:docMk/>
            <pc:sldMk cId="2893929729" sldId="2147469910"/>
            <ac:cxnSpMk id="38" creationId="{70111F4C-9932-4442-AE88-5321D619598D}"/>
          </ac:cxnSpMkLst>
        </pc:cxnChg>
        <pc:cxnChg chg="mod">
          <ac:chgData name="Andrea Lum" userId="89002afe-ac3a-4767-b9c9-147d574dba1b" providerId="ADAL" clId="{40EBE1AD-88D9-4083-99F3-2DCC2DFBE327}" dt="2022-03-25T20:40:11.418" v="6004" actId="1076"/>
          <ac:cxnSpMkLst>
            <pc:docMk/>
            <pc:sldMk cId="2893929729" sldId="2147469910"/>
            <ac:cxnSpMk id="39" creationId="{100D639F-B27C-4939-935C-E06C0290B0DD}"/>
          </ac:cxnSpMkLst>
        </pc:cxnChg>
        <pc:cxnChg chg="mod">
          <ac:chgData name="Andrea Lum" userId="89002afe-ac3a-4767-b9c9-147d574dba1b" providerId="ADAL" clId="{40EBE1AD-88D9-4083-99F3-2DCC2DFBE327}" dt="2022-03-25T21:20:57.820" v="7576" actId="1076"/>
          <ac:cxnSpMkLst>
            <pc:docMk/>
            <pc:sldMk cId="2893929729" sldId="2147469910"/>
            <ac:cxnSpMk id="40" creationId="{EB289BD7-E454-4FA0-8BDB-B2A77BA87900}"/>
          </ac:cxnSpMkLst>
        </pc:cxnChg>
      </pc:sldChg>
      <pc:sldChg chg="addSp delSp modSp new mod ord">
        <pc:chgData name="Andrea Lum" userId="89002afe-ac3a-4767-b9c9-147d574dba1b" providerId="ADAL" clId="{40EBE1AD-88D9-4083-99F3-2DCC2DFBE327}" dt="2022-02-28T18:04:47.322" v="4453" actId="1076"/>
        <pc:sldMkLst>
          <pc:docMk/>
          <pc:sldMk cId="2512970096" sldId="2147469912"/>
        </pc:sldMkLst>
        <pc:spChg chg="mod">
          <ac:chgData name="Andrea Lum" userId="89002afe-ac3a-4767-b9c9-147d574dba1b" providerId="ADAL" clId="{40EBE1AD-88D9-4083-99F3-2DCC2DFBE327}" dt="2022-02-28T16:46:26.087" v="1722" actId="20577"/>
          <ac:spMkLst>
            <pc:docMk/>
            <pc:sldMk cId="2512970096" sldId="2147469912"/>
            <ac:spMk id="2" creationId="{7413B207-015B-4450-8CB0-125E9A313B6D}"/>
          </ac:spMkLst>
        </pc:spChg>
        <pc:spChg chg="mod">
          <ac:chgData name="Andrea Lum" userId="89002afe-ac3a-4767-b9c9-147d574dba1b" providerId="ADAL" clId="{40EBE1AD-88D9-4083-99F3-2DCC2DFBE327}" dt="2022-02-28T18:04:47.322" v="4453" actId="1076"/>
          <ac:spMkLst>
            <pc:docMk/>
            <pc:sldMk cId="2512970096" sldId="2147469912"/>
            <ac:spMk id="3" creationId="{17477A94-6D4B-40AD-A76E-198083BBB535}"/>
          </ac:spMkLst>
        </pc:spChg>
        <pc:spChg chg="add mod">
          <ac:chgData name="Andrea Lum" userId="89002afe-ac3a-4767-b9c9-147d574dba1b" providerId="ADAL" clId="{40EBE1AD-88D9-4083-99F3-2DCC2DFBE327}" dt="2022-02-25T18:15:00.075" v="1079" actId="20577"/>
          <ac:spMkLst>
            <pc:docMk/>
            <pc:sldMk cId="2512970096" sldId="2147469912"/>
            <ac:spMk id="8" creationId="{95B317C5-C3FA-4C76-8DDC-E9DF79949ACF}"/>
          </ac:spMkLst>
        </pc:spChg>
        <pc:spChg chg="add del mod ord">
          <ac:chgData name="Andrea Lum" userId="89002afe-ac3a-4767-b9c9-147d574dba1b" providerId="ADAL" clId="{40EBE1AD-88D9-4083-99F3-2DCC2DFBE327}" dt="2022-02-25T18:13:31.060" v="1037" actId="478"/>
          <ac:spMkLst>
            <pc:docMk/>
            <pc:sldMk cId="2512970096" sldId="2147469912"/>
            <ac:spMk id="9" creationId="{40254033-8663-4837-B79E-61DE9753315B}"/>
          </ac:spMkLst>
        </pc:spChg>
        <pc:spChg chg="add mod">
          <ac:chgData name="Andrea Lum" userId="89002afe-ac3a-4767-b9c9-147d574dba1b" providerId="ADAL" clId="{40EBE1AD-88D9-4083-99F3-2DCC2DFBE327}" dt="2022-02-25T18:12:50.833" v="1023" actId="1076"/>
          <ac:spMkLst>
            <pc:docMk/>
            <pc:sldMk cId="2512970096" sldId="2147469912"/>
            <ac:spMk id="11" creationId="{E16CBAC7-0F66-4022-A86F-2227B5AC8510}"/>
          </ac:spMkLst>
        </pc:spChg>
        <pc:spChg chg="add mod ord">
          <ac:chgData name="Andrea Lum" userId="89002afe-ac3a-4767-b9c9-147d574dba1b" providerId="ADAL" clId="{40EBE1AD-88D9-4083-99F3-2DCC2DFBE327}" dt="2022-02-25T18:14:30.098" v="1066" actId="1036"/>
          <ac:spMkLst>
            <pc:docMk/>
            <pc:sldMk cId="2512970096" sldId="2147469912"/>
            <ac:spMk id="13" creationId="{7CE28774-D6B6-41E4-B01C-99D0C585D596}"/>
          </ac:spMkLst>
        </pc:spChg>
        <pc:picChg chg="add mod">
          <ac:chgData name="Andrea Lum" userId="89002afe-ac3a-4767-b9c9-147d574dba1b" providerId="ADAL" clId="{40EBE1AD-88D9-4083-99F3-2DCC2DFBE327}" dt="2022-02-25T18:11:27.194" v="1010" actId="1076"/>
          <ac:picMkLst>
            <pc:docMk/>
            <pc:sldMk cId="2512970096" sldId="2147469912"/>
            <ac:picMk id="5" creationId="{2065F3AF-9FDB-4B9D-8A75-EC75FEDA8772}"/>
          </ac:picMkLst>
        </pc:picChg>
        <pc:picChg chg="add mod">
          <ac:chgData name="Andrea Lum" userId="89002afe-ac3a-4767-b9c9-147d574dba1b" providerId="ADAL" clId="{40EBE1AD-88D9-4083-99F3-2DCC2DFBE327}" dt="2022-02-25T18:13:27.666" v="1036" actId="1076"/>
          <ac:picMkLst>
            <pc:docMk/>
            <pc:sldMk cId="2512970096" sldId="2147469912"/>
            <ac:picMk id="7" creationId="{89143FFE-26E4-457C-93A6-268D95202AFB}"/>
          </ac:picMkLst>
        </pc:picChg>
      </pc:sldChg>
      <pc:sldChg chg="addSp delSp modSp add mod ord">
        <pc:chgData name="Andrea Lum" userId="89002afe-ac3a-4767-b9c9-147d574dba1b" providerId="ADAL" clId="{40EBE1AD-88D9-4083-99F3-2DCC2DFBE327}" dt="2022-03-25T21:09:04.878" v="6242" actId="732"/>
        <pc:sldMkLst>
          <pc:docMk/>
          <pc:sldMk cId="1967963654" sldId="2147469913"/>
        </pc:sldMkLst>
        <pc:spChg chg="add del mod ord">
          <ac:chgData name="Andrea Lum" userId="89002afe-ac3a-4767-b9c9-147d574dba1b" providerId="ADAL" clId="{40EBE1AD-88D9-4083-99F3-2DCC2DFBE327}" dt="2022-02-28T17:31:48.072" v="3874" actId="478"/>
          <ac:spMkLst>
            <pc:docMk/>
            <pc:sldMk cId="1967963654" sldId="2147469913"/>
            <ac:spMk id="4" creationId="{8E112169-EEDB-468C-892F-EAAC77BF299A}"/>
          </ac:spMkLst>
        </pc:spChg>
        <pc:spChg chg="add mod ord">
          <ac:chgData name="Andrea Lum" userId="89002afe-ac3a-4767-b9c9-147d574dba1b" providerId="ADAL" clId="{40EBE1AD-88D9-4083-99F3-2DCC2DFBE327}" dt="2022-02-28T17:34:03.251" v="3915" actId="207"/>
          <ac:spMkLst>
            <pc:docMk/>
            <pc:sldMk cId="1967963654" sldId="2147469913"/>
            <ac:spMk id="6" creationId="{23132809-7134-40E9-9559-61DE3F4B935C}"/>
          </ac:spMkLst>
        </pc:spChg>
        <pc:spChg chg="mod">
          <ac:chgData name="Andrea Lum" userId="89002afe-ac3a-4767-b9c9-147d574dba1b" providerId="ADAL" clId="{40EBE1AD-88D9-4083-99F3-2DCC2DFBE327}" dt="2022-02-28T16:24:58.527" v="1680" actId="20577"/>
          <ac:spMkLst>
            <pc:docMk/>
            <pc:sldMk cId="1967963654" sldId="2147469913"/>
            <ac:spMk id="19" creationId="{3600DED2-9D95-4BC4-86B0-02513036FF3C}"/>
          </ac:spMkLst>
        </pc:spChg>
        <pc:spChg chg="mod">
          <ac:chgData name="Andrea Lum" userId="89002afe-ac3a-4767-b9c9-147d574dba1b" providerId="ADAL" clId="{40EBE1AD-88D9-4083-99F3-2DCC2DFBE327}" dt="2022-02-28T17:21:32.167" v="3854" actId="14100"/>
          <ac:spMkLst>
            <pc:docMk/>
            <pc:sldMk cId="1967963654" sldId="2147469913"/>
            <ac:spMk id="80" creationId="{733240CC-3269-41C5-A2F3-8928F1DBD81E}"/>
          </ac:spMkLst>
        </pc:spChg>
        <pc:spChg chg="mod">
          <ac:chgData name="Andrea Lum" userId="89002afe-ac3a-4767-b9c9-147d574dba1b" providerId="ADAL" clId="{40EBE1AD-88D9-4083-99F3-2DCC2DFBE327}" dt="2022-03-01T16:40:35.697" v="4496" actId="14100"/>
          <ac:spMkLst>
            <pc:docMk/>
            <pc:sldMk cId="1967963654" sldId="2147469913"/>
            <ac:spMk id="81" creationId="{3031B606-545E-4753-AC22-36E3DC5C6641}"/>
          </ac:spMkLst>
        </pc:spChg>
        <pc:spChg chg="del">
          <ac:chgData name="Andrea Lum" userId="89002afe-ac3a-4767-b9c9-147d574dba1b" providerId="ADAL" clId="{40EBE1AD-88D9-4083-99F3-2DCC2DFBE327}" dt="2022-02-28T17:05:42.004" v="2577" actId="478"/>
          <ac:spMkLst>
            <pc:docMk/>
            <pc:sldMk cId="1967963654" sldId="2147469913"/>
            <ac:spMk id="82" creationId="{CD38DF37-963C-486E-A1E0-79A51CC94312}"/>
          </ac:spMkLst>
        </pc:spChg>
        <pc:spChg chg="mod">
          <ac:chgData name="Andrea Lum" userId="89002afe-ac3a-4767-b9c9-147d574dba1b" providerId="ADAL" clId="{40EBE1AD-88D9-4083-99F3-2DCC2DFBE327}" dt="2022-03-01T16:40:29.551" v="4495" actId="1035"/>
          <ac:spMkLst>
            <pc:docMk/>
            <pc:sldMk cId="1967963654" sldId="2147469913"/>
            <ac:spMk id="83" creationId="{01BC7739-F0E5-4CB8-A08E-DBA8834AF1C3}"/>
          </ac:spMkLst>
        </pc:spChg>
        <pc:spChg chg="del mod">
          <ac:chgData name="Andrea Lum" userId="89002afe-ac3a-4767-b9c9-147d574dba1b" providerId="ADAL" clId="{40EBE1AD-88D9-4083-99F3-2DCC2DFBE327}" dt="2022-02-28T17:16:42.947" v="3223" actId="478"/>
          <ac:spMkLst>
            <pc:docMk/>
            <pc:sldMk cId="1967963654" sldId="2147469913"/>
            <ac:spMk id="84" creationId="{DE8AB6AD-4FF5-4945-8AE2-7CB9D9FDEAA6}"/>
          </ac:spMkLst>
        </pc:spChg>
        <pc:grpChg chg="del">
          <ac:chgData name="Andrea Lum" userId="89002afe-ac3a-4767-b9c9-147d574dba1b" providerId="ADAL" clId="{40EBE1AD-88D9-4083-99F3-2DCC2DFBE327}" dt="2022-02-28T17:21:38.223" v="3858" actId="478"/>
          <ac:grpSpMkLst>
            <pc:docMk/>
            <pc:sldMk cId="1967963654" sldId="2147469913"/>
            <ac:grpSpMk id="117" creationId="{EAC3C9B5-6C91-43EC-B591-2605A8D07EFA}"/>
          </ac:grpSpMkLst>
        </pc:grpChg>
        <pc:grpChg chg="del">
          <ac:chgData name="Andrea Lum" userId="89002afe-ac3a-4767-b9c9-147d574dba1b" providerId="ADAL" clId="{40EBE1AD-88D9-4083-99F3-2DCC2DFBE327}" dt="2022-02-28T17:21:37.574" v="3857" actId="478"/>
          <ac:grpSpMkLst>
            <pc:docMk/>
            <pc:sldMk cId="1967963654" sldId="2147469913"/>
            <ac:grpSpMk id="119" creationId="{FD174DCC-2172-4D0E-8BFB-B17487D91224}"/>
          </ac:grpSpMkLst>
        </pc:grpChg>
        <pc:grpChg chg="del">
          <ac:chgData name="Andrea Lum" userId="89002afe-ac3a-4767-b9c9-147d574dba1b" providerId="ADAL" clId="{40EBE1AD-88D9-4083-99F3-2DCC2DFBE327}" dt="2022-02-28T17:21:36.620" v="3856" actId="478"/>
          <ac:grpSpMkLst>
            <pc:docMk/>
            <pc:sldMk cId="1967963654" sldId="2147469913"/>
            <ac:grpSpMk id="121" creationId="{8B50C3A6-8B6F-40ED-B907-41441934E3A4}"/>
          </ac:grpSpMkLst>
        </pc:grpChg>
        <pc:grpChg chg="del">
          <ac:chgData name="Andrea Lum" userId="89002afe-ac3a-4767-b9c9-147d574dba1b" providerId="ADAL" clId="{40EBE1AD-88D9-4083-99F3-2DCC2DFBE327}" dt="2022-02-28T17:21:35.564" v="3855" actId="478"/>
          <ac:grpSpMkLst>
            <pc:docMk/>
            <pc:sldMk cId="1967963654" sldId="2147469913"/>
            <ac:grpSpMk id="132" creationId="{4FAAC31A-C7F5-4077-9CEA-F2089872E162}"/>
          </ac:grpSpMkLst>
        </pc:grpChg>
        <pc:picChg chg="add del mod modCrop">
          <ac:chgData name="Andrea Lum" userId="89002afe-ac3a-4767-b9c9-147d574dba1b" providerId="ADAL" clId="{40EBE1AD-88D9-4083-99F3-2DCC2DFBE327}" dt="2022-03-25T21:08:22.994" v="6234" actId="478"/>
          <ac:picMkLst>
            <pc:docMk/>
            <pc:sldMk cId="1967963654" sldId="2147469913"/>
            <ac:picMk id="3" creationId="{628AD5FF-9F80-41CF-A8F1-A10325883B60}"/>
          </ac:picMkLst>
        </pc:picChg>
        <pc:picChg chg="del mod">
          <ac:chgData name="Andrea Lum" userId="89002afe-ac3a-4767-b9c9-147d574dba1b" providerId="ADAL" clId="{40EBE1AD-88D9-4083-99F3-2DCC2DFBE327}" dt="2022-02-28T16:24:50.761" v="1640" actId="478"/>
          <ac:picMkLst>
            <pc:docMk/>
            <pc:sldMk cId="1967963654" sldId="2147469913"/>
            <ac:picMk id="158" creationId="{1A8A51F9-55B1-4E45-B395-66C026ABE025}"/>
          </ac:picMkLst>
        </pc:picChg>
        <pc:picChg chg="del">
          <ac:chgData name="Andrea Lum" userId="89002afe-ac3a-4767-b9c9-147d574dba1b" providerId="ADAL" clId="{40EBE1AD-88D9-4083-99F3-2DCC2DFBE327}" dt="2022-02-28T16:24:50.761" v="1640" actId="478"/>
          <ac:picMkLst>
            <pc:docMk/>
            <pc:sldMk cId="1967963654" sldId="2147469913"/>
            <ac:picMk id="160" creationId="{2650E915-9077-4836-82FC-B9FC0570DBB9}"/>
          </ac:picMkLst>
        </pc:picChg>
        <pc:picChg chg="del">
          <ac:chgData name="Andrea Lum" userId="89002afe-ac3a-4767-b9c9-147d574dba1b" providerId="ADAL" clId="{40EBE1AD-88D9-4083-99F3-2DCC2DFBE327}" dt="2022-02-28T16:24:50.761" v="1640" actId="478"/>
          <ac:picMkLst>
            <pc:docMk/>
            <pc:sldMk cId="1967963654" sldId="2147469913"/>
            <ac:picMk id="161" creationId="{EC36F3B2-9718-4275-86B9-AB879A0FF1A1}"/>
          </ac:picMkLst>
        </pc:picChg>
        <pc:picChg chg="add mod">
          <ac:chgData name="Andrea Lum" userId="89002afe-ac3a-4767-b9c9-147d574dba1b" providerId="ADAL" clId="{40EBE1AD-88D9-4083-99F3-2DCC2DFBE327}" dt="2022-03-25T21:09:04.878" v="6242" actId="732"/>
          <ac:picMkLst>
            <pc:docMk/>
            <pc:sldMk cId="1967963654" sldId="2147469913"/>
            <ac:picMk id="3074" creationId="{84D99C8D-90CD-49A7-88D6-9A3BB74E4C3A}"/>
          </ac:picMkLst>
        </pc:picChg>
        <pc:cxnChg chg="del">
          <ac:chgData name="Andrea Lum" userId="89002afe-ac3a-4767-b9c9-147d574dba1b" providerId="ADAL" clId="{40EBE1AD-88D9-4083-99F3-2DCC2DFBE327}" dt="2022-02-28T17:05:50.493" v="2579" actId="478"/>
          <ac:cxnSpMkLst>
            <pc:docMk/>
            <pc:sldMk cId="1967963654" sldId="2147469913"/>
            <ac:cxnSpMk id="109" creationId="{5E7667EA-81CD-4ED8-B3EC-4F16503E3129}"/>
          </ac:cxnSpMkLst>
        </pc:cxnChg>
        <pc:cxnChg chg="mod">
          <ac:chgData name="Andrea Lum" userId="89002afe-ac3a-4767-b9c9-147d574dba1b" providerId="ADAL" clId="{40EBE1AD-88D9-4083-99F3-2DCC2DFBE327}" dt="2022-03-01T16:40:38.477" v="4497" actId="1076"/>
          <ac:cxnSpMkLst>
            <pc:docMk/>
            <pc:sldMk cId="1967963654" sldId="2147469913"/>
            <ac:cxnSpMk id="110" creationId="{CE2CC25C-50A9-46BF-AD51-EC8835509681}"/>
          </ac:cxnSpMkLst>
        </pc:cxnChg>
        <pc:cxnChg chg="del">
          <ac:chgData name="Andrea Lum" userId="89002afe-ac3a-4767-b9c9-147d574dba1b" providerId="ADAL" clId="{40EBE1AD-88D9-4083-99F3-2DCC2DFBE327}" dt="2022-02-28T17:16:46.694" v="3225" actId="478"/>
          <ac:cxnSpMkLst>
            <pc:docMk/>
            <pc:sldMk cId="1967963654" sldId="2147469913"/>
            <ac:cxnSpMk id="111" creationId="{A5B2084A-B32F-46D0-B51B-ECFC20301947}"/>
          </ac:cxnSpMkLst>
        </pc:cxnChg>
      </pc:sldChg>
      <pc:sldChg chg="modSp add del mod">
        <pc:chgData name="Andrea Lum" userId="89002afe-ac3a-4767-b9c9-147d574dba1b" providerId="ADAL" clId="{40EBE1AD-88D9-4083-99F3-2DCC2DFBE327}" dt="2022-02-28T16:43:38.474" v="1688" actId="47"/>
        <pc:sldMkLst>
          <pc:docMk/>
          <pc:sldMk cId="758475024" sldId="2147469914"/>
        </pc:sldMkLst>
        <pc:spChg chg="mod">
          <ac:chgData name="Andrea Lum" userId="89002afe-ac3a-4767-b9c9-147d574dba1b" providerId="ADAL" clId="{40EBE1AD-88D9-4083-99F3-2DCC2DFBE327}" dt="2022-02-28T16:39:57.240" v="1687" actId="20577"/>
          <ac:spMkLst>
            <pc:docMk/>
            <pc:sldMk cId="758475024" sldId="2147469914"/>
            <ac:spMk id="19" creationId="{3600DED2-9D95-4BC4-86B0-02513036FF3C}"/>
          </ac:spMkLst>
        </pc:spChg>
      </pc:sldChg>
      <pc:sldChg chg="addSp modSp add mod">
        <pc:chgData name="Andrea Lum" userId="89002afe-ac3a-4767-b9c9-147d574dba1b" providerId="ADAL" clId="{40EBE1AD-88D9-4083-99F3-2DCC2DFBE327}" dt="2022-03-25T21:17:18.140" v="7009" actId="20577"/>
        <pc:sldMkLst>
          <pc:docMk/>
          <pc:sldMk cId="3105375975" sldId="2147470503"/>
        </pc:sldMkLst>
        <pc:spChg chg="mod">
          <ac:chgData name="Andrea Lum" userId="89002afe-ac3a-4767-b9c9-147d574dba1b" providerId="ADAL" clId="{40EBE1AD-88D9-4083-99F3-2DCC2DFBE327}" dt="2022-03-25T21:14:30.282" v="6928" actId="20577"/>
          <ac:spMkLst>
            <pc:docMk/>
            <pc:sldMk cId="3105375975" sldId="2147470503"/>
            <ac:spMk id="2" creationId="{89917745-9B81-4AD7-B615-4E3933F02567}"/>
          </ac:spMkLst>
        </pc:spChg>
        <pc:spChg chg="mod">
          <ac:chgData name="Andrea Lum" userId="89002afe-ac3a-4767-b9c9-147d574dba1b" providerId="ADAL" clId="{40EBE1AD-88D9-4083-99F3-2DCC2DFBE327}" dt="2022-03-25T21:17:18.140" v="7009" actId="20577"/>
          <ac:spMkLst>
            <pc:docMk/>
            <pc:sldMk cId="3105375975" sldId="2147470503"/>
            <ac:spMk id="3" creationId="{254F7183-E0AD-4D1C-855D-6598D3751BDA}"/>
          </ac:spMkLst>
        </pc:spChg>
        <pc:spChg chg="add mod">
          <ac:chgData name="Andrea Lum" userId="89002afe-ac3a-4767-b9c9-147d574dba1b" providerId="ADAL" clId="{40EBE1AD-88D9-4083-99F3-2DCC2DFBE327}" dt="2022-03-25T21:16:28.409" v="6999"/>
          <ac:spMkLst>
            <pc:docMk/>
            <pc:sldMk cId="3105375975" sldId="2147470503"/>
            <ac:spMk id="5" creationId="{B496F21D-2F86-4A45-889F-20DE87EB8E10}"/>
          </ac:spMkLst>
        </pc:spChg>
        <pc:spChg chg="add mod">
          <ac:chgData name="Andrea Lum" userId="89002afe-ac3a-4767-b9c9-147d574dba1b" providerId="ADAL" clId="{40EBE1AD-88D9-4083-99F3-2DCC2DFBE327}" dt="2022-03-25T21:16:49.045" v="7003" actId="14100"/>
          <ac:spMkLst>
            <pc:docMk/>
            <pc:sldMk cId="3105375975" sldId="2147470503"/>
            <ac:spMk id="7" creationId="{679D3407-4F6C-49DF-B2ED-E8C3D390DD98}"/>
          </ac:spMkLst>
        </pc:spChg>
      </pc:sldChg>
      <pc:sldChg chg="addSp delSp modSp add mod">
        <pc:chgData name="Andrea Lum" userId="89002afe-ac3a-4767-b9c9-147d574dba1b" providerId="ADAL" clId="{40EBE1AD-88D9-4083-99F3-2DCC2DFBE327}" dt="2022-03-25T21:20:06.908" v="7535" actId="20577"/>
        <pc:sldMkLst>
          <pc:docMk/>
          <pc:sldMk cId="2025872571" sldId="2147470504"/>
        </pc:sldMkLst>
        <pc:spChg chg="mod">
          <ac:chgData name="Andrea Lum" userId="89002afe-ac3a-4767-b9c9-147d574dba1b" providerId="ADAL" clId="{40EBE1AD-88D9-4083-99F3-2DCC2DFBE327}" dt="2022-03-25T21:20:06.908" v="7535" actId="20577"/>
          <ac:spMkLst>
            <pc:docMk/>
            <pc:sldMk cId="2025872571" sldId="2147470504"/>
            <ac:spMk id="2" creationId="{CA619A25-21E3-4173-8F2E-11F77AB0437D}"/>
          </ac:spMkLst>
        </pc:spChg>
        <pc:spChg chg="mod">
          <ac:chgData name="Andrea Lum" userId="89002afe-ac3a-4767-b9c9-147d574dba1b" providerId="ADAL" clId="{40EBE1AD-88D9-4083-99F3-2DCC2DFBE327}" dt="2022-03-25T20:33:19.096" v="5033" actId="20577"/>
          <ac:spMkLst>
            <pc:docMk/>
            <pc:sldMk cId="2025872571" sldId="2147470504"/>
            <ac:spMk id="19" creationId="{3600DED2-9D95-4BC4-86B0-02513036FF3C}"/>
          </ac:spMkLst>
        </pc:spChg>
        <pc:spChg chg="mod ord">
          <ac:chgData name="Andrea Lum" userId="89002afe-ac3a-4767-b9c9-147d574dba1b" providerId="ADAL" clId="{40EBE1AD-88D9-4083-99F3-2DCC2DFBE327}" dt="2022-03-25T21:19:13.231" v="7441" actId="20577"/>
          <ac:spMkLst>
            <pc:docMk/>
            <pc:sldMk cId="2025872571" sldId="2147470504"/>
            <ac:spMk id="81" creationId="{3031B606-545E-4753-AC22-36E3DC5C6641}"/>
          </ac:spMkLst>
        </pc:spChg>
        <pc:picChg chg="del">
          <ac:chgData name="Andrea Lum" userId="89002afe-ac3a-4767-b9c9-147d574dba1b" providerId="ADAL" clId="{40EBE1AD-88D9-4083-99F3-2DCC2DFBE327}" dt="2022-03-25T20:28:19.956" v="4962" actId="478"/>
          <ac:picMkLst>
            <pc:docMk/>
            <pc:sldMk cId="2025872571" sldId="2147470504"/>
            <ac:picMk id="3" creationId="{628AD5FF-9F80-41CF-A8F1-A10325883B60}"/>
          </ac:picMkLst>
        </pc:picChg>
        <pc:picChg chg="add mod">
          <ac:chgData name="Andrea Lum" userId="89002afe-ac3a-4767-b9c9-147d574dba1b" providerId="ADAL" clId="{40EBE1AD-88D9-4083-99F3-2DCC2DFBE327}" dt="2022-03-25T20:32:38.138" v="5023" actId="1076"/>
          <ac:picMkLst>
            <pc:docMk/>
            <pc:sldMk cId="2025872571" sldId="2147470504"/>
            <ac:picMk id="1026" creationId="{5ED3B939-2E02-4B69-B2B4-0B5FF9300DF6}"/>
          </ac:picMkLst>
        </pc:picChg>
        <pc:cxnChg chg="mod">
          <ac:chgData name="Andrea Lum" userId="89002afe-ac3a-4767-b9c9-147d574dba1b" providerId="ADAL" clId="{40EBE1AD-88D9-4083-99F3-2DCC2DFBE327}" dt="2022-03-25T21:19:08.722" v="7439" actId="1036"/>
          <ac:cxnSpMkLst>
            <pc:docMk/>
            <pc:sldMk cId="2025872571" sldId="2147470504"/>
            <ac:cxnSpMk id="110" creationId="{CE2CC25C-50A9-46BF-AD51-EC8835509681}"/>
          </ac:cxnSpMkLst>
        </pc:cxnChg>
      </pc:sldChg>
      <pc:sldChg chg="add">
        <pc:chgData name="Andrea Lum" userId="89002afe-ac3a-4767-b9c9-147d574dba1b" providerId="ADAL" clId="{40EBE1AD-88D9-4083-99F3-2DCC2DFBE327}" dt="2022-03-25T20:35:58.365" v="5302" actId="2890"/>
        <pc:sldMkLst>
          <pc:docMk/>
          <pc:sldMk cId="862609663" sldId="2147470505"/>
        </pc:sldMkLst>
      </pc:sldChg>
      <pc:sldChg chg="new del">
        <pc:chgData name="Andrea Lum" userId="89002afe-ac3a-4767-b9c9-147d574dba1b" providerId="ADAL" clId="{40EBE1AD-88D9-4083-99F3-2DCC2DFBE327}" dt="2022-03-25T21:27:58.946" v="7593" actId="680"/>
        <pc:sldMkLst>
          <pc:docMk/>
          <pc:sldMk cId="3053091922" sldId="2147470506"/>
        </pc:sldMkLst>
      </pc:sldChg>
    </pc:docChg>
  </pc:docChgLst>
  <pc:docChgLst>
    <pc:chgData clId="Web-{7FA8BC81-6751-AA13-38AE-66BE21F31047}"/>
    <pc:docChg chg="modSld">
      <pc:chgData name="" userId="" providerId="" clId="Web-{7FA8BC81-6751-AA13-38AE-66BE21F31047}" dt="2022-01-06T00:23:52.587" v="0" actId="20577"/>
      <pc:docMkLst>
        <pc:docMk/>
      </pc:docMkLst>
      <pc:sldChg chg="modSp">
        <pc:chgData name="" userId="" providerId="" clId="Web-{7FA8BC81-6751-AA13-38AE-66BE21F31047}" dt="2022-01-06T00:23:52.587" v="0" actId="20577"/>
        <pc:sldMkLst>
          <pc:docMk/>
          <pc:sldMk cId="2888529057" sldId="2134805529"/>
        </pc:sldMkLst>
        <pc:spChg chg="mod">
          <ac:chgData name="" userId="" providerId="" clId="Web-{7FA8BC81-6751-AA13-38AE-66BE21F31047}" dt="2022-01-06T00:23:52.587" v="0" actId="20577"/>
          <ac:spMkLst>
            <pc:docMk/>
            <pc:sldMk cId="2888529057" sldId="2134805529"/>
            <ac:spMk id="3" creationId="{8F9F2716-F05F-4C33-8B1F-234E31737A28}"/>
          </ac:spMkLst>
        </pc:spChg>
      </pc:sldChg>
    </pc:docChg>
  </pc:docChgLst>
  <pc:docChgLst>
    <pc:chgData name="John Mighell" userId="aa110d23-b74a-4732-bbdf-11d185d8cf54" providerId="ADAL" clId="{7C527333-7D5F-4578-BAFC-CFB8FB5D4828}"/>
    <pc:docChg chg="modSld">
      <pc:chgData name="John Mighell" userId="aa110d23-b74a-4732-bbdf-11d185d8cf54" providerId="ADAL" clId="{7C527333-7D5F-4578-BAFC-CFB8FB5D4828}" dt="2021-11-02T17:00:43.022" v="150" actId="20577"/>
      <pc:docMkLst>
        <pc:docMk/>
      </pc:docMkLst>
      <pc:sldChg chg="modSp addCm">
        <pc:chgData name="John Mighell" userId="aa110d23-b74a-4732-bbdf-11d185d8cf54" providerId="ADAL" clId="{7C527333-7D5F-4578-BAFC-CFB8FB5D4828}" dt="2021-11-02T17:00:29.777" v="138" actId="20577"/>
        <pc:sldMkLst>
          <pc:docMk/>
          <pc:sldMk cId="2732924721" sldId="2147469873"/>
        </pc:sldMkLst>
        <pc:spChg chg="mod">
          <ac:chgData name="John Mighell" userId="aa110d23-b74a-4732-bbdf-11d185d8cf54" providerId="ADAL" clId="{7C527333-7D5F-4578-BAFC-CFB8FB5D4828}" dt="2021-11-02T17:00:14.645" v="127" actId="20577"/>
          <ac:spMkLst>
            <pc:docMk/>
            <pc:sldMk cId="2732924721" sldId="2147469873"/>
            <ac:spMk id="26" creationId="{8AFCB849-CB1F-44E5-8652-B943FEA9CDA6}"/>
          </ac:spMkLst>
        </pc:spChg>
        <pc:spChg chg="mod">
          <ac:chgData name="John Mighell" userId="aa110d23-b74a-4732-bbdf-11d185d8cf54" providerId="ADAL" clId="{7C527333-7D5F-4578-BAFC-CFB8FB5D4828}" dt="2021-11-02T17:00:29.777" v="138" actId="20577"/>
          <ac:spMkLst>
            <pc:docMk/>
            <pc:sldMk cId="2732924721" sldId="2147469873"/>
            <ac:spMk id="27" creationId="{429654BF-2AC8-4B3A-8EDD-9AC516D2D62A}"/>
          </ac:spMkLst>
        </pc:spChg>
      </pc:sldChg>
      <pc:sldChg chg="modSp mod">
        <pc:chgData name="John Mighell" userId="aa110d23-b74a-4732-bbdf-11d185d8cf54" providerId="ADAL" clId="{7C527333-7D5F-4578-BAFC-CFB8FB5D4828}" dt="2021-11-02T17:00:43.022" v="150" actId="20577"/>
        <pc:sldMkLst>
          <pc:docMk/>
          <pc:sldMk cId="2116721055" sldId="2147469892"/>
        </pc:sldMkLst>
        <pc:spChg chg="mod">
          <ac:chgData name="John Mighell" userId="aa110d23-b74a-4732-bbdf-11d185d8cf54" providerId="ADAL" clId="{7C527333-7D5F-4578-BAFC-CFB8FB5D4828}" dt="2021-11-02T17:00:43.022" v="150" actId="20577"/>
          <ac:spMkLst>
            <pc:docMk/>
            <pc:sldMk cId="2116721055" sldId="2147469892"/>
            <ac:spMk id="56" creationId="{6D66DC5A-2FEE-4631-BA73-1C7537350786}"/>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D130A4-0C17-4382-B007-DE65C1962BAE}" type="datetimeFigureOut">
              <a:rPr lang="en-US" smtClean="0"/>
              <a:t>3/2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9E275E-07E3-4045-8B4A-11819C54480A}" type="slidenum">
              <a:rPr lang="en-US" smtClean="0"/>
              <a:t>‹#›</a:t>
            </a:fld>
            <a:endParaRPr lang="en-US"/>
          </a:p>
        </p:txBody>
      </p:sp>
    </p:spTree>
    <p:extLst>
      <p:ext uri="{BB962C8B-B14F-4D97-AF65-F5344CB8AC3E}">
        <p14:creationId xmlns:p14="http://schemas.microsoft.com/office/powerpoint/2010/main" val="1549529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66005">
              <a:defRPr/>
            </a:pPr>
            <a:fld id="{07A07096-82EA-4B4C-9ECD-456A7E8096E2}" type="slidenum">
              <a:rPr lang="en-US">
                <a:solidFill>
                  <a:prstClr val="black"/>
                </a:solidFill>
                <a:latin typeface="Calibri" panose="020F0502020204030204"/>
              </a:rPr>
              <a:pPr defTabSz="966005">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4043109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11</a:t>
            </a:fld>
            <a:endParaRPr lang="en-US"/>
          </a:p>
        </p:txBody>
      </p:sp>
    </p:spTree>
    <p:extLst>
      <p:ext uri="{BB962C8B-B14F-4D97-AF65-F5344CB8AC3E}">
        <p14:creationId xmlns:p14="http://schemas.microsoft.com/office/powerpoint/2010/main" val="2327597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3/25/2022 2: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221464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13</a:t>
            </a:fld>
            <a:endParaRPr lang="en-US"/>
          </a:p>
        </p:txBody>
      </p:sp>
    </p:spTree>
    <p:extLst>
      <p:ext uri="{BB962C8B-B14F-4D97-AF65-F5344CB8AC3E}">
        <p14:creationId xmlns:p14="http://schemas.microsoft.com/office/powerpoint/2010/main" val="355679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14</a:t>
            </a:fld>
            <a:endParaRPr lang="en-US"/>
          </a:p>
        </p:txBody>
      </p:sp>
    </p:spTree>
    <p:extLst>
      <p:ext uri="{BB962C8B-B14F-4D97-AF65-F5344CB8AC3E}">
        <p14:creationId xmlns:p14="http://schemas.microsoft.com/office/powerpoint/2010/main" val="26256937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15</a:t>
            </a:fld>
            <a:endParaRPr lang="en-US"/>
          </a:p>
        </p:txBody>
      </p:sp>
    </p:spTree>
    <p:extLst>
      <p:ext uri="{BB962C8B-B14F-4D97-AF65-F5344CB8AC3E}">
        <p14:creationId xmlns:p14="http://schemas.microsoft.com/office/powerpoint/2010/main" val="22209233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a:solidFill>
                <a:srgbClr val="E3E3E3"/>
              </a:solidFill>
              <a:effectLst/>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369E275E-07E3-4045-8B4A-11819C54480A}" type="slidenum">
              <a:rPr lang="en-US" smtClean="0"/>
              <a:t>16</a:t>
            </a:fld>
            <a:endParaRPr lang="en-US"/>
          </a:p>
        </p:txBody>
      </p:sp>
    </p:spTree>
    <p:extLst>
      <p:ext uri="{BB962C8B-B14F-4D97-AF65-F5344CB8AC3E}">
        <p14:creationId xmlns:p14="http://schemas.microsoft.com/office/powerpoint/2010/main" val="37139848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17</a:t>
            </a:fld>
            <a:endParaRPr lang="en-US"/>
          </a:p>
        </p:txBody>
      </p:sp>
    </p:spTree>
    <p:extLst>
      <p:ext uri="{BB962C8B-B14F-4D97-AF65-F5344CB8AC3E}">
        <p14:creationId xmlns:p14="http://schemas.microsoft.com/office/powerpoint/2010/main" val="3407469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18</a:t>
            </a:fld>
            <a:endParaRPr lang="en-US"/>
          </a:p>
        </p:txBody>
      </p:sp>
    </p:spTree>
    <p:extLst>
      <p:ext uri="{BB962C8B-B14F-4D97-AF65-F5344CB8AC3E}">
        <p14:creationId xmlns:p14="http://schemas.microsoft.com/office/powerpoint/2010/main" val="17084803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3/25/2022 2: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35169744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20</a:t>
            </a:fld>
            <a:endParaRPr lang="en-US"/>
          </a:p>
        </p:txBody>
      </p:sp>
    </p:spTree>
    <p:extLst>
      <p:ext uri="{BB962C8B-B14F-4D97-AF65-F5344CB8AC3E}">
        <p14:creationId xmlns:p14="http://schemas.microsoft.com/office/powerpoint/2010/main" val="300150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2</a:t>
            </a:fld>
            <a:endParaRPr lang="en-US"/>
          </a:p>
        </p:txBody>
      </p:sp>
    </p:spTree>
    <p:extLst>
      <p:ext uri="{BB962C8B-B14F-4D97-AF65-F5344CB8AC3E}">
        <p14:creationId xmlns:p14="http://schemas.microsoft.com/office/powerpoint/2010/main" val="6420733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21</a:t>
            </a:fld>
            <a:endParaRPr lang="en-US"/>
          </a:p>
        </p:txBody>
      </p:sp>
    </p:spTree>
    <p:extLst>
      <p:ext uri="{BB962C8B-B14F-4D97-AF65-F5344CB8AC3E}">
        <p14:creationId xmlns:p14="http://schemas.microsoft.com/office/powerpoint/2010/main" val="34145171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22</a:t>
            </a:fld>
            <a:endParaRPr lang="en-US"/>
          </a:p>
        </p:txBody>
      </p:sp>
    </p:spTree>
    <p:extLst>
      <p:ext uri="{BB962C8B-B14F-4D97-AF65-F5344CB8AC3E}">
        <p14:creationId xmlns:p14="http://schemas.microsoft.com/office/powerpoint/2010/main" val="524160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sz="1800" b="0" i="0" u="none" strike="noStrike">
              <a:solidFill>
                <a:srgbClr val="000000"/>
              </a:solidFill>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369E275E-07E3-4045-8B4A-11819C54480A}" type="slidenum">
              <a:rPr lang="en-US" smtClean="0"/>
              <a:t>23</a:t>
            </a:fld>
            <a:endParaRPr lang="en-US"/>
          </a:p>
        </p:txBody>
      </p:sp>
    </p:spTree>
    <p:extLst>
      <p:ext uri="{BB962C8B-B14F-4D97-AF65-F5344CB8AC3E}">
        <p14:creationId xmlns:p14="http://schemas.microsoft.com/office/powerpoint/2010/main" val="34700067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24</a:t>
            </a:fld>
            <a:endParaRPr lang="en-US"/>
          </a:p>
        </p:txBody>
      </p:sp>
    </p:spTree>
    <p:extLst>
      <p:ext uri="{BB962C8B-B14F-4D97-AF65-F5344CB8AC3E}">
        <p14:creationId xmlns:p14="http://schemas.microsoft.com/office/powerpoint/2010/main" val="19415256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riving rationalization of the HCM suite – where VL fits 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43FDBD-A233-4BED-8094-3D915D35F5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00779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3/25/2022 2: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9589585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27</a:t>
            </a:fld>
            <a:endParaRPr lang="en-US"/>
          </a:p>
        </p:txBody>
      </p:sp>
    </p:spTree>
    <p:extLst>
      <p:ext uri="{BB962C8B-B14F-4D97-AF65-F5344CB8AC3E}">
        <p14:creationId xmlns:p14="http://schemas.microsoft.com/office/powerpoint/2010/main" val="28154194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29</a:t>
            </a:fld>
            <a:endParaRPr lang="en-US"/>
          </a:p>
        </p:txBody>
      </p:sp>
    </p:spTree>
    <p:extLst>
      <p:ext uri="{BB962C8B-B14F-4D97-AF65-F5344CB8AC3E}">
        <p14:creationId xmlns:p14="http://schemas.microsoft.com/office/powerpoint/2010/main" val="5041915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Coordinate training and strategy between HR, L&amp;D, and I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Roles: learning manager, training admi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Drive learning cultur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Learning that is constantly refreshed, releva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Keep reiterating on learning practice, measure insights and impact, surve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ut out research and guidance on opportunities that are available, skills that need to be learned, et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3504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defTabSz="950464">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406034" defTabSz="931467"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defTabSz="950464">
              <a:defRPr/>
            </a:pPr>
            <a:fld id="{61B0BD91-A332-4638-9D55-E1550E13BA63}" type="datetime8">
              <a:rPr lang="en-US">
                <a:solidFill>
                  <a:prstClr val="black"/>
                </a:solidFill>
                <a:latin typeface="Segoe UI" pitchFamily="34" charset="0"/>
              </a:rPr>
              <a:pPr defTabSz="950464">
                <a:defRPr/>
              </a:pPr>
              <a:t>3/25/2022 2:29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0464">
              <a:defRPr/>
            </a:pPr>
            <a:fld id="{B4008EB6-D09E-4580-8CD6-DDB14511944F}" type="slidenum">
              <a:rPr lang="en-US">
                <a:solidFill>
                  <a:prstClr val="black"/>
                </a:solidFill>
                <a:latin typeface="Segoe UI" pitchFamily="34" charset="0"/>
              </a:rPr>
              <a:pPr defTabSz="950464">
                <a:defRPr/>
              </a:pPr>
              <a:t>31</a:t>
            </a:fld>
            <a:endParaRPr lang="en-US">
              <a:solidFill>
                <a:prstClr val="black"/>
              </a:solidFill>
              <a:latin typeface="Segoe UI" pitchFamily="34" charset="0"/>
            </a:endParaRPr>
          </a:p>
        </p:txBody>
      </p:sp>
    </p:spTree>
    <p:extLst>
      <p:ext uri="{BB962C8B-B14F-4D97-AF65-F5344CB8AC3E}">
        <p14:creationId xmlns:p14="http://schemas.microsoft.com/office/powerpoint/2010/main" val="3025638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3</a:t>
            </a:fld>
            <a:endParaRPr lang="en-US"/>
          </a:p>
        </p:txBody>
      </p:sp>
    </p:spTree>
    <p:extLst>
      <p:ext uri="{BB962C8B-B14F-4D97-AF65-F5344CB8AC3E}">
        <p14:creationId xmlns:p14="http://schemas.microsoft.com/office/powerpoint/2010/main" val="117513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3/25/2022 2: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a:p>
        </p:txBody>
      </p:sp>
    </p:spTree>
    <p:extLst>
      <p:ext uri="{BB962C8B-B14F-4D97-AF65-F5344CB8AC3E}">
        <p14:creationId xmlns:p14="http://schemas.microsoft.com/office/powerpoint/2010/main" val="29424868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34</a:t>
            </a:fld>
            <a:endParaRPr lang="en-US"/>
          </a:p>
        </p:txBody>
      </p:sp>
    </p:spTree>
    <p:extLst>
      <p:ext uri="{BB962C8B-B14F-4D97-AF65-F5344CB8AC3E}">
        <p14:creationId xmlns:p14="http://schemas.microsoft.com/office/powerpoint/2010/main" val="19988111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35</a:t>
            </a:fld>
            <a:endParaRPr lang="en-US"/>
          </a:p>
        </p:txBody>
      </p:sp>
    </p:spTree>
    <p:extLst>
      <p:ext uri="{BB962C8B-B14F-4D97-AF65-F5344CB8AC3E}">
        <p14:creationId xmlns:p14="http://schemas.microsoft.com/office/powerpoint/2010/main" val="33589591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36</a:t>
            </a:fld>
            <a:endParaRPr lang="en-US"/>
          </a:p>
        </p:txBody>
      </p:sp>
    </p:spTree>
    <p:extLst>
      <p:ext uri="{BB962C8B-B14F-4D97-AF65-F5344CB8AC3E}">
        <p14:creationId xmlns:p14="http://schemas.microsoft.com/office/powerpoint/2010/main" val="30334622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37</a:t>
            </a:fld>
            <a:endParaRPr lang="en-US"/>
          </a:p>
        </p:txBody>
      </p:sp>
    </p:spTree>
    <p:extLst>
      <p:ext uri="{BB962C8B-B14F-4D97-AF65-F5344CB8AC3E}">
        <p14:creationId xmlns:p14="http://schemas.microsoft.com/office/powerpoint/2010/main" val="11390605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3/25/2022 2: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38</a:t>
            </a:fld>
            <a:endParaRPr lang="en-US"/>
          </a:p>
        </p:txBody>
      </p:sp>
    </p:spTree>
    <p:extLst>
      <p:ext uri="{BB962C8B-B14F-4D97-AF65-F5344CB8AC3E}">
        <p14:creationId xmlns:p14="http://schemas.microsoft.com/office/powerpoint/2010/main" val="24074738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39</a:t>
            </a:fld>
            <a:endParaRPr lang="en-US"/>
          </a:p>
        </p:txBody>
      </p:sp>
    </p:spTree>
    <p:extLst>
      <p:ext uri="{BB962C8B-B14F-4D97-AF65-F5344CB8AC3E}">
        <p14:creationId xmlns:p14="http://schemas.microsoft.com/office/powerpoint/2010/main" val="8147943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40</a:t>
            </a:fld>
            <a:endParaRPr lang="en-US"/>
          </a:p>
        </p:txBody>
      </p:sp>
    </p:spTree>
    <p:extLst>
      <p:ext uri="{BB962C8B-B14F-4D97-AF65-F5344CB8AC3E}">
        <p14:creationId xmlns:p14="http://schemas.microsoft.com/office/powerpoint/2010/main" val="2340394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2F19A73-88F5-4B80-A929-CF8E66EE5449}" type="datetime8">
              <a:rPr lang="en-US" smtClean="0"/>
              <a:t>3/25/2022 2:2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a:p>
        </p:txBody>
      </p:sp>
    </p:spTree>
    <p:extLst>
      <p:ext uri="{BB962C8B-B14F-4D97-AF65-F5344CB8AC3E}">
        <p14:creationId xmlns:p14="http://schemas.microsoft.com/office/powerpoint/2010/main" val="18773748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defTabSz="932472" fontAlgn="base">
              <a:spcBef>
                <a:spcPts val="600"/>
              </a:spcBef>
              <a:spcAft>
                <a:spcPct val="0"/>
              </a:spcAft>
              <a:buFont typeface="+mj-lt"/>
              <a:buNone/>
            </a:pPr>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5</a:t>
            </a:fld>
            <a:endParaRPr lang="en-US"/>
          </a:p>
        </p:txBody>
      </p:sp>
    </p:spTree>
    <p:extLst>
      <p:ext uri="{BB962C8B-B14F-4D97-AF65-F5344CB8AC3E}">
        <p14:creationId xmlns:p14="http://schemas.microsoft.com/office/powerpoint/2010/main" val="31996713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6</a:t>
            </a:fld>
            <a:endParaRPr lang="en-US"/>
          </a:p>
        </p:txBody>
      </p:sp>
    </p:spTree>
    <p:extLst>
      <p:ext uri="{BB962C8B-B14F-4D97-AF65-F5344CB8AC3E}">
        <p14:creationId xmlns:p14="http://schemas.microsoft.com/office/powerpoint/2010/main" val="3522910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7</a:t>
            </a:fld>
            <a:endParaRPr lang="en-US"/>
          </a:p>
        </p:txBody>
      </p:sp>
    </p:spTree>
    <p:extLst>
      <p:ext uri="{BB962C8B-B14F-4D97-AF65-F5344CB8AC3E}">
        <p14:creationId xmlns:p14="http://schemas.microsoft.com/office/powerpoint/2010/main" val="26282424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ACB7E-8B57-4042-AB70-7272828DB5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2752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D9ACB7E-8B57-4042-AB70-7272828DB5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6098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3" Type="http://schemas.openxmlformats.org/officeDocument/2006/relationships/image" Target="../media/image3.sv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image" Target="../media/image5.jpeg"/><Relationship Id="rId10" Type="http://schemas.openxmlformats.org/officeDocument/2006/relationships/image" Target="../media/image10.svg"/><Relationship Id="rId4" Type="http://schemas.openxmlformats.org/officeDocument/2006/relationships/image" Target="../media/image4.jpeg"/><Relationship Id="rId9" Type="http://schemas.openxmlformats.org/officeDocument/2006/relationships/image" Target="../media/image9.png"/><Relationship Id="rId14" Type="http://schemas.openxmlformats.org/officeDocument/2006/relationships/image" Target="../media/image1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jpe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27.jpeg"/><Relationship Id="rId4" Type="http://schemas.openxmlformats.org/officeDocument/2006/relationships/image" Target="../media/image20.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 Id="rId4" Type="http://schemas.openxmlformats.org/officeDocument/2006/relationships/image" Target="../media/image32.jpe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37.jpeg"/><Relationship Id="rId5" Type="http://schemas.openxmlformats.org/officeDocument/2006/relationships/image" Target="../media/image27.jpeg"/><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0.jpe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5" Type="http://schemas.openxmlformats.org/officeDocument/2006/relationships/image" Target="../media/image27.jpeg"/><Relationship Id="rId4" Type="http://schemas.openxmlformats.org/officeDocument/2006/relationships/image" Target="../media/image20.jpe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1.xml"/><Relationship Id="rId6" Type="http://schemas.openxmlformats.org/officeDocument/2006/relationships/image" Target="../media/image37.jpeg"/><Relationship Id="rId5" Type="http://schemas.openxmlformats.org/officeDocument/2006/relationships/image" Target="../media/image27.jpeg"/><Relationship Id="rId4" Type="http://schemas.openxmlformats.org/officeDocument/2006/relationships/image" Target="../media/image20.jpe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Master" Target="../slideMasters/slideMaster2.xml"/><Relationship Id="rId5" Type="http://schemas.openxmlformats.org/officeDocument/2006/relationships/image" Target="../media/image46.svg"/><Relationship Id="rId4" Type="http://schemas.openxmlformats.org/officeDocument/2006/relationships/image" Target="../media/image4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9.png"/><Relationship Id="rId1" Type="http://schemas.openxmlformats.org/officeDocument/2006/relationships/slideMaster" Target="../slideMasters/slideMaster2.xml"/><Relationship Id="rId4" Type="http://schemas.openxmlformats.org/officeDocument/2006/relationships/image" Target="../media/image46.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12234319-6984-4C63-A941-095A99AFD4EE}"/>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22735" r="34012" b="31197"/>
          <a:stretch/>
        </p:blipFill>
        <p:spPr>
          <a:xfrm>
            <a:off x="2650203" y="-1"/>
            <a:ext cx="9541797" cy="6858001"/>
          </a:xfrm>
          <a:prstGeom prst="rect">
            <a:avLst/>
          </a:prstGeom>
        </p:spPr>
      </p:pic>
      <p:grpSp>
        <p:nvGrpSpPr>
          <p:cNvPr id="21" name="Group 20">
            <a:extLst>
              <a:ext uri="{FF2B5EF4-FFF2-40B4-BE49-F238E27FC236}">
                <a16:creationId xmlns:a16="http://schemas.microsoft.com/office/drawing/2014/main" id="{3DE60D45-CBF6-40DE-972D-2F565806DB28}"/>
              </a:ext>
              <a:ext uri="{C183D7F6-B498-43B3-948B-1728B52AA6E4}">
                <adec:decorative xmlns:adec="http://schemas.microsoft.com/office/drawing/2017/decorative" val="1"/>
              </a:ext>
            </a:extLst>
          </p:cNvPr>
          <p:cNvGrpSpPr/>
          <p:nvPr userDrawn="1"/>
        </p:nvGrpSpPr>
        <p:grpSpPr>
          <a:xfrm>
            <a:off x="4431249" y="195730"/>
            <a:ext cx="2630192" cy="2630192"/>
            <a:chOff x="2275764" y="3933567"/>
            <a:chExt cx="3803604" cy="3803604"/>
          </a:xfrm>
        </p:grpSpPr>
        <p:pic>
          <p:nvPicPr>
            <p:cNvPr id="22" name="Picture 21">
              <a:extLst>
                <a:ext uri="{FF2B5EF4-FFF2-40B4-BE49-F238E27FC236}">
                  <a16:creationId xmlns:a16="http://schemas.microsoft.com/office/drawing/2014/main" id="{6DB06810-1416-4321-905C-F2FCEF9A49D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275764" y="3933567"/>
              <a:ext cx="3803604" cy="3803604"/>
            </a:xfrm>
            <a:prstGeom prst="ellipse">
              <a:avLst/>
            </a:prstGeom>
            <a:solidFill>
              <a:schemeClr val="bg1"/>
            </a:solidFill>
            <a:ln>
              <a:noFill/>
              <a:headEnd type="none" w="med" len="med"/>
              <a:tailEnd type="none" w="med" len="med"/>
            </a:ln>
            <a:effectLst>
              <a:outerShdw blurRad="190500" algn="ctr" rotWithShape="0">
                <a:prstClr val="black">
                  <a:alpha val="10000"/>
                </a:prstClr>
              </a:outerShdw>
            </a:effectLst>
          </p:spPr>
        </p:pic>
        <p:sp>
          <p:nvSpPr>
            <p:cNvPr id="23" name="Oval 22">
              <a:extLst>
                <a:ext uri="{FF2B5EF4-FFF2-40B4-BE49-F238E27FC236}">
                  <a16:creationId xmlns:a16="http://schemas.microsoft.com/office/drawing/2014/main" id="{FD7A5B7C-458C-4F7F-8B4F-48FE70C37D6B}"/>
                </a:ext>
              </a:extLst>
            </p:cNvPr>
            <p:cNvSpPr>
              <a:spLocks noChangeAspect="1"/>
            </p:cNvSpPr>
            <p:nvPr/>
          </p:nvSpPr>
          <p:spPr bwMode="auto">
            <a:xfrm>
              <a:off x="2320015" y="3987521"/>
              <a:ext cx="3695696" cy="3695696"/>
            </a:xfrm>
            <a:prstGeom prst="ellipse">
              <a:avLst/>
            </a:prstGeom>
            <a:noFill/>
            <a:ln w="1778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E72236F0-F8FC-4980-835B-EB07ED11906E}"/>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730272" y="1212850"/>
            <a:ext cx="4179886" cy="4179886"/>
          </a:xfrm>
          <a:prstGeom prst="ellipse">
            <a:avLst/>
          </a:prstGeom>
          <a:effectLst>
            <a:outerShdw blurRad="482600" dist="127000" dir="2700000" sx="101000" sy="101000" algn="ctr" rotWithShape="0">
              <a:prstClr val="black">
                <a:alpha val="29000"/>
              </a:prstClr>
            </a:outerShdw>
          </a:effectLst>
        </p:spPr>
      </p:pic>
      <p:sp>
        <p:nvSpPr>
          <p:cNvPr id="9" name="Title 1"/>
          <p:cNvSpPr>
            <a:spLocks noGrp="1"/>
          </p:cNvSpPr>
          <p:nvPr>
            <p:ph type="title" hasCustomPrompt="1"/>
          </p:nvPr>
        </p:nvSpPr>
        <p:spPr>
          <a:xfrm>
            <a:off x="584200" y="2425780"/>
            <a:ext cx="5298440" cy="1107996"/>
          </a:xfrm>
          <a:noFill/>
        </p:spPr>
        <p:txBody>
          <a:bodyPr wrap="square"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29844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048BF6F0-39E7-41BE-852C-3E0F3448DE6D}"/>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bwMode="black">
          <a:xfrm>
            <a:off x="584200" y="585788"/>
            <a:ext cx="1366440" cy="292608"/>
          </a:xfrm>
          <a:prstGeom prst="rect">
            <a:avLst/>
          </a:prstGeom>
        </p:spPr>
      </p:pic>
      <p:grpSp>
        <p:nvGrpSpPr>
          <p:cNvPr id="6" name="Group 5">
            <a:extLst>
              <a:ext uri="{FF2B5EF4-FFF2-40B4-BE49-F238E27FC236}">
                <a16:creationId xmlns:a16="http://schemas.microsoft.com/office/drawing/2014/main" id="{CCB79F01-CB80-4423-BF46-0634DF9F7EB2}"/>
              </a:ext>
            </a:extLst>
          </p:cNvPr>
          <p:cNvGrpSpPr/>
          <p:nvPr userDrawn="1"/>
        </p:nvGrpSpPr>
        <p:grpSpPr>
          <a:xfrm>
            <a:off x="12606850" y="1013626"/>
            <a:ext cx="1126467" cy="4830748"/>
            <a:chOff x="12797351" y="1690390"/>
            <a:chExt cx="731520" cy="3137055"/>
          </a:xfrm>
        </p:grpSpPr>
        <p:grpSp>
          <p:nvGrpSpPr>
            <p:cNvPr id="7" name="Group 6">
              <a:extLst>
                <a:ext uri="{FF2B5EF4-FFF2-40B4-BE49-F238E27FC236}">
                  <a16:creationId xmlns:a16="http://schemas.microsoft.com/office/drawing/2014/main" id="{FAC03F9F-1BFB-4EF4-B2D9-D3FDB2D8554E}"/>
                </a:ext>
                <a:ext uri="{C183D7F6-B498-43B3-948B-1728B52AA6E4}">
                  <adec:decorative xmlns:adec="http://schemas.microsoft.com/office/drawing/2017/decorative" val="1"/>
                </a:ext>
              </a:extLst>
            </p:cNvPr>
            <p:cNvGrpSpPr/>
            <p:nvPr/>
          </p:nvGrpSpPr>
          <p:grpSpPr>
            <a:xfrm>
              <a:off x="12797351" y="4095925"/>
              <a:ext cx="731520" cy="731520"/>
              <a:chOff x="10080552" y="1965811"/>
              <a:chExt cx="749364" cy="723392"/>
            </a:xfrm>
          </p:grpSpPr>
          <p:sp>
            <p:nvSpPr>
              <p:cNvPr id="18" name="Oval 17">
                <a:extLst>
                  <a:ext uri="{FF2B5EF4-FFF2-40B4-BE49-F238E27FC236}">
                    <a16:creationId xmlns:a16="http://schemas.microsoft.com/office/drawing/2014/main" id="{33D7145B-7EDA-4DA0-BF67-44C056E6FC68}"/>
                  </a:ext>
                  <a:ext uri="{C183D7F6-B498-43B3-948B-1728B52AA6E4}">
                    <adec:decorative xmlns:adec="http://schemas.microsoft.com/office/drawing/2017/decorative" val="1"/>
                  </a:ext>
                </a:extLst>
              </p:cNvPr>
              <p:cNvSpPr/>
              <p:nvPr/>
            </p:nvSpPr>
            <p:spPr bwMode="auto">
              <a:xfrm>
                <a:off x="10080552" y="1965811"/>
                <a:ext cx="749364" cy="72339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Graphic 18">
                <a:extLst>
                  <a:ext uri="{FF2B5EF4-FFF2-40B4-BE49-F238E27FC236}">
                    <a16:creationId xmlns:a16="http://schemas.microsoft.com/office/drawing/2014/main" id="{97509AB2-53D3-493E-82BF-7801CA1F58ED}"/>
                  </a:ext>
                  <a:ext uri="{C183D7F6-B498-43B3-948B-1728B52AA6E4}">
                    <adec:decorative xmlns:adec="http://schemas.microsoft.com/office/drawing/2017/decorative" val="1"/>
                  </a:ext>
                </a:extLst>
              </p:cNvPr>
              <p:cNvPicPr>
                <a:picLocks/>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5683" y="2104898"/>
                <a:ext cx="608858" cy="497332"/>
              </a:xfrm>
              <a:prstGeom prst="rect">
                <a:avLst/>
              </a:prstGeom>
            </p:spPr>
          </p:pic>
        </p:grpSp>
        <p:grpSp>
          <p:nvGrpSpPr>
            <p:cNvPr id="8" name="Group 7">
              <a:extLst>
                <a:ext uri="{FF2B5EF4-FFF2-40B4-BE49-F238E27FC236}">
                  <a16:creationId xmlns:a16="http://schemas.microsoft.com/office/drawing/2014/main" id="{17A5D3C9-2AFC-4EC4-987E-F1FE2CC260D3}"/>
                </a:ext>
                <a:ext uri="{C183D7F6-B498-43B3-948B-1728B52AA6E4}">
                  <adec:decorative xmlns:adec="http://schemas.microsoft.com/office/drawing/2017/decorative" val="1"/>
                </a:ext>
              </a:extLst>
            </p:cNvPr>
            <p:cNvGrpSpPr/>
            <p:nvPr/>
          </p:nvGrpSpPr>
          <p:grpSpPr>
            <a:xfrm>
              <a:off x="12797351" y="3294080"/>
              <a:ext cx="731520" cy="731520"/>
              <a:chOff x="7119136" y="1965811"/>
              <a:chExt cx="749364" cy="723392"/>
            </a:xfrm>
          </p:grpSpPr>
          <p:sp>
            <p:nvSpPr>
              <p:cNvPr id="16" name="Oval 15">
                <a:extLst>
                  <a:ext uri="{FF2B5EF4-FFF2-40B4-BE49-F238E27FC236}">
                    <a16:creationId xmlns:a16="http://schemas.microsoft.com/office/drawing/2014/main" id="{AD4CDB6F-9D9C-4123-8076-D8D443655154}"/>
                  </a:ext>
                  <a:ext uri="{C183D7F6-B498-43B3-948B-1728B52AA6E4}">
                    <adec:decorative xmlns:adec="http://schemas.microsoft.com/office/drawing/2017/decorative" val="1"/>
                  </a:ext>
                </a:extLst>
              </p:cNvPr>
              <p:cNvSpPr/>
              <p:nvPr/>
            </p:nvSpPr>
            <p:spPr bwMode="auto">
              <a:xfrm>
                <a:off x="7119136" y="1965811"/>
                <a:ext cx="749364" cy="72339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Graphic 16">
                <a:extLst>
                  <a:ext uri="{FF2B5EF4-FFF2-40B4-BE49-F238E27FC236}">
                    <a16:creationId xmlns:a16="http://schemas.microsoft.com/office/drawing/2014/main" id="{5FA085D1-8412-44BF-BAE3-D9E81581BE96}"/>
                  </a:ext>
                  <a:ext uri="{C183D7F6-B498-43B3-948B-1728B52AA6E4}">
                    <adec:decorative xmlns:adec="http://schemas.microsoft.com/office/drawing/2017/decorative" val="1"/>
                  </a:ext>
                </a:extLst>
              </p:cNvPr>
              <p:cNvPicPr>
                <a:picLocks/>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63387" y="2088271"/>
                <a:ext cx="608858" cy="497332"/>
              </a:xfrm>
              <a:prstGeom prst="rect">
                <a:avLst/>
              </a:prstGeom>
            </p:spPr>
          </p:pic>
        </p:grpSp>
        <p:grpSp>
          <p:nvGrpSpPr>
            <p:cNvPr id="10" name="Group 9">
              <a:extLst>
                <a:ext uri="{FF2B5EF4-FFF2-40B4-BE49-F238E27FC236}">
                  <a16:creationId xmlns:a16="http://schemas.microsoft.com/office/drawing/2014/main" id="{7CC43A12-2AA4-49E4-8C41-FBC5AA1B84D6}"/>
                </a:ext>
                <a:ext uri="{C183D7F6-B498-43B3-948B-1728B52AA6E4}">
                  <adec:decorative xmlns:adec="http://schemas.microsoft.com/office/drawing/2017/decorative" val="1"/>
                </a:ext>
              </a:extLst>
            </p:cNvPr>
            <p:cNvGrpSpPr/>
            <p:nvPr/>
          </p:nvGrpSpPr>
          <p:grpSpPr>
            <a:xfrm>
              <a:off x="12797351" y="2492235"/>
              <a:ext cx="731520" cy="731520"/>
              <a:chOff x="4186151" y="1971485"/>
              <a:chExt cx="731520" cy="731520"/>
            </a:xfrm>
          </p:grpSpPr>
          <p:sp>
            <p:nvSpPr>
              <p:cNvPr id="14" name="Oval 13">
                <a:extLst>
                  <a:ext uri="{FF2B5EF4-FFF2-40B4-BE49-F238E27FC236}">
                    <a16:creationId xmlns:a16="http://schemas.microsoft.com/office/drawing/2014/main" id="{D0E86D8D-B614-42EB-B320-7D8AF6A4A983}"/>
                  </a:ext>
                  <a:ext uri="{C183D7F6-B498-43B3-948B-1728B52AA6E4}">
                    <adec:decorative xmlns:adec="http://schemas.microsoft.com/office/drawing/2017/decorative" val="1"/>
                  </a:ext>
                </a:extLst>
              </p:cNvPr>
              <p:cNvSpPr/>
              <p:nvPr/>
            </p:nvSpPr>
            <p:spPr bwMode="auto">
              <a:xfrm>
                <a:off x="4186151" y="1971485"/>
                <a:ext cx="731520" cy="73152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Graphic 14">
                <a:extLst>
                  <a:ext uri="{FF2B5EF4-FFF2-40B4-BE49-F238E27FC236}">
                    <a16:creationId xmlns:a16="http://schemas.microsoft.com/office/drawing/2014/main" id="{E7CDC3C9-39CC-4A72-90AB-A637B14E4DB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18701" y="2109032"/>
                <a:ext cx="466421" cy="456426"/>
              </a:xfrm>
              <a:prstGeom prst="rect">
                <a:avLst/>
              </a:prstGeom>
            </p:spPr>
          </p:pic>
        </p:grpSp>
        <p:grpSp>
          <p:nvGrpSpPr>
            <p:cNvPr id="11" name="Group 10">
              <a:extLst>
                <a:ext uri="{FF2B5EF4-FFF2-40B4-BE49-F238E27FC236}">
                  <a16:creationId xmlns:a16="http://schemas.microsoft.com/office/drawing/2014/main" id="{0D8EEFE9-97CE-4F86-A58B-C1C27641C024}"/>
                </a:ext>
                <a:ext uri="{C183D7F6-B498-43B3-948B-1728B52AA6E4}">
                  <adec:decorative xmlns:adec="http://schemas.microsoft.com/office/drawing/2017/decorative" val="1"/>
                </a:ext>
              </a:extLst>
            </p:cNvPr>
            <p:cNvGrpSpPr/>
            <p:nvPr/>
          </p:nvGrpSpPr>
          <p:grpSpPr>
            <a:xfrm>
              <a:off x="12797351" y="1690390"/>
              <a:ext cx="731520" cy="731520"/>
              <a:chOff x="1221330" y="1971485"/>
              <a:chExt cx="731520" cy="731520"/>
            </a:xfrm>
          </p:grpSpPr>
          <p:sp>
            <p:nvSpPr>
              <p:cNvPr id="12" name="Oval 11">
                <a:extLst>
                  <a:ext uri="{FF2B5EF4-FFF2-40B4-BE49-F238E27FC236}">
                    <a16:creationId xmlns:a16="http://schemas.microsoft.com/office/drawing/2014/main" id="{E8066B38-E0DA-43E6-ABBC-14BBD2DB3D65}"/>
                  </a:ext>
                  <a:ext uri="{C183D7F6-B498-43B3-948B-1728B52AA6E4}">
                    <adec:decorative xmlns:adec="http://schemas.microsoft.com/office/drawing/2017/decorative" val="1"/>
                  </a:ext>
                </a:extLst>
              </p:cNvPr>
              <p:cNvSpPr/>
              <p:nvPr/>
            </p:nvSpPr>
            <p:spPr bwMode="auto">
              <a:xfrm>
                <a:off x="1221330" y="1971485"/>
                <a:ext cx="731520" cy="73152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147"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2341641E-69E2-4344-8F05-17D0C0C7814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4787" y="2109445"/>
                <a:ext cx="484607" cy="491812"/>
              </a:xfrm>
              <a:prstGeom prst="rect">
                <a:avLst/>
              </a:prstGeom>
            </p:spPr>
          </p:pic>
        </p:grpSp>
      </p:grpSp>
    </p:spTree>
    <p:extLst>
      <p:ext uri="{BB962C8B-B14F-4D97-AF65-F5344CB8AC3E}">
        <p14:creationId xmlns:p14="http://schemas.microsoft.com/office/powerpoint/2010/main" val="10215465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82296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56990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783011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504998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301533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84702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940826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5473805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04017929"/>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805946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Graphic 6" descr="Viva graphic">
            <a:extLst>
              <a:ext uri="{FF2B5EF4-FFF2-40B4-BE49-F238E27FC236}">
                <a16:creationId xmlns:a16="http://schemas.microsoft.com/office/drawing/2014/main" id="{4C53A5FD-C403-4051-925A-F4D56D28715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1877" r="60238" b="14390"/>
          <a:stretch/>
        </p:blipFill>
        <p:spPr bwMode="ltGray">
          <a:xfrm>
            <a:off x="4643972" y="-1"/>
            <a:ext cx="7548028" cy="6858001"/>
          </a:xfrm>
          <a:prstGeom prst="rect">
            <a:avLst/>
          </a:prstGeom>
        </p:spPr>
      </p:pic>
      <p:pic>
        <p:nvPicPr>
          <p:cNvPr id="11" name="Picture 10" descr="Man on laptop">
            <a:extLst>
              <a:ext uri="{FF2B5EF4-FFF2-40B4-BE49-F238E27FC236}">
                <a16:creationId xmlns:a16="http://schemas.microsoft.com/office/drawing/2014/main" id="{5A4B84B7-FFD3-4C71-B395-7C3B6A3FEBA3}"/>
              </a:ext>
            </a:extLst>
          </p:cNvPr>
          <p:cNvPicPr>
            <a:picLocks noChangeAspect="1"/>
          </p:cNvPicPr>
          <p:nvPr userDrawn="1"/>
        </p:nvPicPr>
        <p:blipFill rotWithShape="1">
          <a:blip r:embed="rId4"/>
          <a:srcRect t="-17" b="-1"/>
          <a:stretch/>
        </p:blipFill>
        <p:spPr bwMode="ltGray">
          <a:xfrm>
            <a:off x="5917246" y="585788"/>
            <a:ext cx="5692140" cy="5685472"/>
          </a:xfrm>
          <a:prstGeom prst="rect">
            <a:avLst/>
          </a:prstGeom>
          <a:effectLst>
            <a:innerShdw blurRad="444500">
              <a:prstClr val="black">
                <a:alpha val="10000"/>
              </a:prstClr>
            </a:innerShdw>
          </a:effectLst>
        </p:spPr>
      </p:pic>
      <p:sp>
        <p:nvSpPr>
          <p:cNvPr id="13" name="TextBox 12">
            <a:extLst>
              <a:ext uri="{FF2B5EF4-FFF2-40B4-BE49-F238E27FC236}">
                <a16:creationId xmlns:a16="http://schemas.microsoft.com/office/drawing/2014/main" id="{CAE5E9D0-EE57-4642-B5A6-8BFF47E66921}"/>
              </a:ext>
            </a:extLst>
          </p:cNvPr>
          <p:cNvSpPr txBox="1"/>
          <p:nvPr userDrawn="1"/>
        </p:nvSpPr>
        <p:spPr>
          <a:xfrm>
            <a:off x="584200" y="6024632"/>
            <a:ext cx="2278743" cy="307777"/>
          </a:xfrm>
          <a:prstGeom prst="rect">
            <a:avLst/>
          </a:prstGeom>
          <a:noFill/>
        </p:spPr>
        <p:txBody>
          <a:bodyPr wrap="square" lIns="0" tIns="0" rIns="0" bIns="0" rtlCol="0">
            <a:spAutoFit/>
          </a:bodyPr>
          <a:lstStyle/>
          <a:p>
            <a:pPr algn="l"/>
            <a:r>
              <a:rPr lang="en-US" sz="2000">
                <a:solidFill>
                  <a:schemeClr val="accent1"/>
                </a:solidFill>
                <a:latin typeface="+mj-lt"/>
              </a:rPr>
              <a:t>Microsoft Viva</a:t>
            </a:r>
          </a:p>
        </p:txBody>
      </p:sp>
      <p:pic>
        <p:nvPicPr>
          <p:cNvPr id="14" name="Graphic 13" descr="Microsoft 365 logo">
            <a:extLst>
              <a:ext uri="{FF2B5EF4-FFF2-40B4-BE49-F238E27FC236}">
                <a16:creationId xmlns:a16="http://schemas.microsoft.com/office/drawing/2014/main" id="{BDAD4DAA-0B3C-4CC7-9D2E-4C3D32AFCD9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r="22050"/>
          <a:stretch/>
        </p:blipFill>
        <p:spPr>
          <a:xfrm>
            <a:off x="584200" y="585788"/>
            <a:ext cx="1412875" cy="292608"/>
          </a:xfrm>
          <a:prstGeom prst="rect">
            <a:avLst/>
          </a:prstGeom>
        </p:spPr>
      </p:pic>
      <p:sp>
        <p:nvSpPr>
          <p:cNvPr id="9" name="Title 1"/>
          <p:cNvSpPr>
            <a:spLocks noGrp="1"/>
          </p:cNvSpPr>
          <p:nvPr>
            <p:ph type="title" hasCustomPrompt="1"/>
          </p:nvPr>
        </p:nvSpPr>
        <p:spPr>
          <a:xfrm>
            <a:off x="584201" y="2425780"/>
            <a:ext cx="4169664"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1" y="3962400"/>
            <a:ext cx="4169664"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151599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2999">
          <p15:clr>
            <a:srgbClr val="5ACBF0"/>
          </p15:clr>
        </p15:guide>
        <p15:guide id="4"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2037702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3876693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89000666"/>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414934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4038222"/>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92132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9304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2446370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00505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916856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889690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156388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5894732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696214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585216" y="1854200"/>
            <a:ext cx="11024172" cy="16510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585217" y="1854200"/>
            <a:ext cx="3186684" cy="16510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7347709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585216" y="1854200"/>
            <a:ext cx="11024172" cy="16510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585217" y="1854200"/>
            <a:ext cx="3186684" cy="165100"/>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002051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2757395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912944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71166281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573859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93536323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88439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581531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966473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mo slide ">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E13B87-FEDD-41FD-BCBF-587DB30678E5}"/>
              </a:ext>
              <a:ext uri="{C183D7F6-B498-43B3-948B-1728B52AA6E4}">
                <adec:decorative xmlns:adec="http://schemas.microsoft.com/office/drawing/2017/decorative" val="1"/>
              </a:ext>
            </a:extLst>
          </p:cNvPr>
          <p:cNvSpPr/>
          <p:nvPr userDrawn="1"/>
        </p:nvSpPr>
        <p:spPr bwMode="white">
          <a:xfrm>
            <a:off x="585216" y="585789"/>
            <a:ext cx="11024171" cy="5683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8" name="Graphic 7" descr="Viva graphic">
            <a:extLst>
              <a:ext uri="{FF2B5EF4-FFF2-40B4-BE49-F238E27FC236}">
                <a16:creationId xmlns:a16="http://schemas.microsoft.com/office/drawing/2014/main" id="{684E92CF-C7A8-42CF-8C1D-D63977A0345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t="37067" r="63457" b="24387"/>
          <a:stretch/>
        </p:blipFill>
        <p:spPr bwMode="ltGray">
          <a:xfrm>
            <a:off x="6882384" y="1257299"/>
            <a:ext cx="5309616" cy="5600701"/>
          </a:xfrm>
          <a:prstGeom prst="rect">
            <a:avLst/>
          </a:prstGeom>
        </p:spPr>
      </p:pic>
      <p:pic>
        <p:nvPicPr>
          <p:cNvPr id="9" name="Graphic 8" descr="Viva graphic">
            <a:extLst>
              <a:ext uri="{FF2B5EF4-FFF2-40B4-BE49-F238E27FC236}">
                <a16:creationId xmlns:a16="http://schemas.microsoft.com/office/drawing/2014/main" id="{D3241E42-CC82-444D-ADEE-1AED757B7D6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363" r="63456" b="59769"/>
          <a:stretch/>
        </p:blipFill>
        <p:spPr bwMode="ltGray">
          <a:xfrm>
            <a:off x="6882384" y="-1"/>
            <a:ext cx="5309616" cy="3032125"/>
          </a:xfrm>
          <a:prstGeom prst="rect">
            <a:avLst/>
          </a:prstGeom>
        </p:spPr>
      </p:pic>
      <p:sp>
        <p:nvSpPr>
          <p:cNvPr id="2" name="Title 1"/>
          <p:cNvSpPr>
            <a:spLocks noGrp="1"/>
          </p:cNvSpPr>
          <p:nvPr>
            <p:ph type="title" hasCustomPrompt="1"/>
          </p:nvPr>
        </p:nvSpPr>
        <p:spPr>
          <a:xfrm>
            <a:off x="876300" y="3037887"/>
            <a:ext cx="4169664"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876300" y="3977319"/>
            <a:ext cx="4169664"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54173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orient="horz" pos="2505">
          <p15:clr>
            <a:srgbClr val="5ACBF0"/>
          </p15:clr>
        </p15:guide>
        <p15:guide id="5" pos="54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E9507ED-ADF8-4545-918C-23CAFD9DAC35}"/>
              </a:ext>
              <a:ext uri="{C183D7F6-B498-43B3-948B-1728B52AA6E4}">
                <adec:decorative xmlns:adec="http://schemas.microsoft.com/office/drawing/2017/decorative" val="1"/>
              </a:ext>
            </a:extLst>
          </p:cNvPr>
          <p:cNvSpPr/>
          <p:nvPr userDrawn="1"/>
        </p:nvSpPr>
        <p:spPr bwMode="white">
          <a:xfrm>
            <a:off x="585216" y="585789"/>
            <a:ext cx="11024171" cy="568325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 name="Graphic 5" descr="Viva graphic">
            <a:extLst>
              <a:ext uri="{FF2B5EF4-FFF2-40B4-BE49-F238E27FC236}">
                <a16:creationId xmlns:a16="http://schemas.microsoft.com/office/drawing/2014/main" id="{A7B362D3-BFA6-4C9F-B622-0DAE5D40F85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t="37067" r="63457" b="24387"/>
          <a:stretch/>
        </p:blipFill>
        <p:spPr bwMode="ltGray">
          <a:xfrm>
            <a:off x="6882384" y="1257299"/>
            <a:ext cx="5309616" cy="5600701"/>
          </a:xfrm>
          <a:prstGeom prst="rect">
            <a:avLst/>
          </a:prstGeom>
        </p:spPr>
      </p:pic>
      <p:pic>
        <p:nvPicPr>
          <p:cNvPr id="7" name="Graphic 6" descr="Viva graphic">
            <a:extLst>
              <a:ext uri="{FF2B5EF4-FFF2-40B4-BE49-F238E27FC236}">
                <a16:creationId xmlns:a16="http://schemas.microsoft.com/office/drawing/2014/main" id="{5FA18684-5001-447C-AB6B-CF5F4CD7CBF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363" r="63456" b="59769"/>
          <a:stretch/>
        </p:blipFill>
        <p:spPr bwMode="ltGray">
          <a:xfrm>
            <a:off x="6882384" y="-1"/>
            <a:ext cx="5309616" cy="3032125"/>
          </a:xfrm>
          <a:prstGeom prst="rect">
            <a:avLst/>
          </a:prstGeom>
        </p:spPr>
      </p:pic>
      <p:sp>
        <p:nvSpPr>
          <p:cNvPr id="2" name="Title 1"/>
          <p:cNvSpPr>
            <a:spLocks noGrp="1"/>
          </p:cNvSpPr>
          <p:nvPr>
            <p:ph type="title" hasCustomPrompt="1"/>
          </p:nvPr>
        </p:nvSpPr>
        <p:spPr>
          <a:xfrm>
            <a:off x="876300" y="3035808"/>
            <a:ext cx="4169664"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79498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73335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3">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56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
    <p:bg>
      <p:bgPr>
        <a:solidFill>
          <a:schemeClr val="accent5"/>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Graphic 3" descr="Microsoft 365 logo">
            <a:extLst>
              <a:ext uri="{FF2B5EF4-FFF2-40B4-BE49-F238E27FC236}">
                <a16:creationId xmlns:a16="http://schemas.microsoft.com/office/drawing/2014/main" id="{8AD49639-0ECC-4B3F-8375-A2CCCAB26F1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2663"/>
          <a:stretch/>
        </p:blipFill>
        <p:spPr bwMode="black">
          <a:xfrm>
            <a:off x="584200" y="585788"/>
            <a:ext cx="1401763" cy="292608"/>
          </a:xfrm>
          <a:prstGeom prst="rect">
            <a:avLst/>
          </a:prstGeom>
        </p:spPr>
      </p:pic>
    </p:spTree>
    <p:extLst>
      <p:ext uri="{BB962C8B-B14F-4D97-AF65-F5344CB8AC3E}">
        <p14:creationId xmlns:p14="http://schemas.microsoft.com/office/powerpoint/2010/main" val="3766540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0115791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FEFAF5"/>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D369704A-8C9D-7045-8A49-A2B1C04A59E2}"/>
              </a:ext>
            </a:extLst>
          </p:cNvPr>
          <p:cNvSpPr>
            <a:spLocks noGrp="1"/>
          </p:cNvSpPr>
          <p:nvPr>
            <p:ph type="title" hasCustomPrompt="1"/>
          </p:nvPr>
        </p:nvSpPr>
        <p:spPr>
          <a:xfrm>
            <a:off x="723913" y="762000"/>
            <a:ext cx="10667298" cy="445111"/>
          </a:xfrm>
          <a:prstGeom prst="rect">
            <a:avLst/>
          </a:prstGeom>
        </p:spPr>
        <p:txBody>
          <a:bodyPr vert="horz" lIns="91440" tIns="45720" rIns="91440" bIns="45720" rtlCol="0" anchor="b">
            <a:normAutofit/>
          </a:bodyPr>
          <a:lstStyle>
            <a:lvl1pPr>
              <a:defRPr>
                <a:solidFill>
                  <a:schemeClr val="accent2"/>
                </a:solidFill>
              </a:defRPr>
            </a:lvl1pPr>
          </a:lstStyle>
          <a:p>
            <a:r>
              <a:rPr lang="en-US"/>
              <a:t>Enter slide title here</a:t>
            </a:r>
          </a:p>
        </p:txBody>
      </p:sp>
      <p:sp>
        <p:nvSpPr>
          <p:cNvPr id="3" name="Folded Corner 2">
            <a:extLst>
              <a:ext uri="{FF2B5EF4-FFF2-40B4-BE49-F238E27FC236}">
                <a16:creationId xmlns:a16="http://schemas.microsoft.com/office/drawing/2014/main" id="{A2CCF22E-BD16-B14B-9AF4-B731E6FB9513}"/>
              </a:ext>
            </a:extLst>
          </p:cNvPr>
          <p:cNvSpPr/>
          <p:nvPr userDrawn="1"/>
        </p:nvSpPr>
        <p:spPr>
          <a:xfrm>
            <a:off x="0" y="-1104900"/>
            <a:ext cx="4115058" cy="823695"/>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37142" tIns="137142" rIns="137142" rtlCol="0" anchor="t"/>
          <a:lstStyle/>
          <a:p>
            <a:r>
              <a:rPr lang="en-US" sz="1200" b="1">
                <a:solidFill>
                  <a:schemeClr val="tx1"/>
                </a:solidFill>
                <a:latin typeface="Source Sans Pro" charset="0"/>
                <a:ea typeface="Source Sans Pro" charset="0"/>
                <a:cs typeface="Arial" panose="020B0604020202020204" pitchFamily="34" charset="0"/>
              </a:rPr>
              <a:t>Purpose of Layout</a:t>
            </a:r>
            <a:r>
              <a:rPr lang="en-US" sz="1200">
                <a:solidFill>
                  <a:schemeClr val="tx1"/>
                </a:solidFill>
                <a:latin typeface="Source Sans Pro" charset="0"/>
                <a:ea typeface="Source Sans Pro" charset="0"/>
                <a:cs typeface="Arial" panose="020B0604020202020204" pitchFamily="34" charset="0"/>
              </a:rPr>
              <a:t>: This a multi-purpose title only layout. </a:t>
            </a:r>
          </a:p>
          <a:p>
            <a:endParaRPr lang="en-US" sz="1200">
              <a:solidFill>
                <a:schemeClr val="tx1"/>
              </a:solidFill>
              <a:latin typeface="Source Sans Pro" charset="0"/>
              <a:ea typeface="Source Sans Pro" charset="0"/>
              <a:cs typeface="Arial" panose="020B0604020202020204" pitchFamily="34" charset="0"/>
            </a:endParaRPr>
          </a:p>
          <a:p>
            <a:r>
              <a:rPr lang="en-US" sz="1200" b="1">
                <a:solidFill>
                  <a:schemeClr val="tx1"/>
                </a:solidFill>
                <a:latin typeface="Source Sans Pro" charset="0"/>
                <a:ea typeface="Source Sans Pro" charset="0"/>
                <a:cs typeface="Arial" panose="020B0604020202020204" pitchFamily="34" charset="0"/>
              </a:rPr>
              <a:t>Tip: </a:t>
            </a:r>
            <a:r>
              <a:rPr lang="en-US" sz="1200" b="0">
                <a:solidFill>
                  <a:schemeClr val="tx1"/>
                </a:solidFill>
                <a:latin typeface="Source Sans Pro" charset="0"/>
                <a:ea typeface="Source Sans Pro" charset="0"/>
                <a:cs typeface="Arial" panose="020B0604020202020204" pitchFamily="34" charset="0"/>
              </a:rPr>
              <a:t>Make sure to keep your slide titles short and clear.</a:t>
            </a:r>
            <a:endParaRPr lang="en-US" sz="1200" b="1">
              <a:solidFill>
                <a:schemeClr val="tx1"/>
              </a:solidFill>
              <a:latin typeface="Source Sans Pro" panose="020B0503030403020204" pitchFamily="34" charset="77"/>
              <a:ea typeface="Source Sans Pro" charset="0"/>
              <a:cs typeface="Arial" panose="020B0604020202020204" pitchFamily="34" charset="0"/>
            </a:endParaRPr>
          </a:p>
        </p:txBody>
      </p:sp>
      <p:sp>
        <p:nvSpPr>
          <p:cNvPr id="5" name="Slide Number Placeholder 4">
            <a:extLst>
              <a:ext uri="{FF2B5EF4-FFF2-40B4-BE49-F238E27FC236}">
                <a16:creationId xmlns:a16="http://schemas.microsoft.com/office/drawing/2014/main" id="{6218D87F-3CDA-41FD-92D9-EE697C0946BE}"/>
              </a:ext>
            </a:extLst>
          </p:cNvPr>
          <p:cNvSpPr>
            <a:spLocks noGrp="1"/>
          </p:cNvSpPr>
          <p:nvPr>
            <p:ph type="sldNum" sz="quarter" idx="12"/>
          </p:nvPr>
        </p:nvSpPr>
        <p:spPr>
          <a:xfrm>
            <a:off x="8610600" y="6356350"/>
            <a:ext cx="2743200" cy="365125"/>
          </a:xfrm>
        </p:spPr>
        <p:txBody>
          <a:bodyPr/>
          <a:lstStyle>
            <a:lvl1pPr>
              <a:defRPr>
                <a:latin typeface="Segoe UI" panose="020B0502040204020203" pitchFamily="34" charset="0"/>
                <a:cs typeface="Segoe UI" panose="020B0502040204020203" pitchFamily="34" charset="0"/>
              </a:defRPr>
            </a:lvl1pPr>
          </a:lstStyle>
          <a:p>
            <a:fld id="{469B4A21-47D8-4498-BAA9-A623EB2692D1}" type="slidenum">
              <a:rPr lang="en-US" smtClean="0"/>
              <a:pPr/>
              <a:t>‹#›</a:t>
            </a:fld>
            <a:endParaRPr lang="en-US"/>
          </a:p>
        </p:txBody>
      </p:sp>
    </p:spTree>
    <p:extLst>
      <p:ext uri="{BB962C8B-B14F-4D97-AF65-F5344CB8AC3E}">
        <p14:creationId xmlns:p14="http://schemas.microsoft.com/office/powerpoint/2010/main" val="10381853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ver Slide">
    <p:bg>
      <p:bgPr>
        <a:solidFill>
          <a:schemeClr val="bg1">
            <a:lumMod val="95000"/>
          </a:schemeClr>
        </a:solidFill>
        <a:effectLst/>
      </p:bgPr>
    </p:bg>
    <p:spTree>
      <p:nvGrpSpPr>
        <p:cNvPr id="1" name=""/>
        <p:cNvGrpSpPr/>
        <p:nvPr/>
      </p:nvGrpSpPr>
      <p:grpSpPr>
        <a:xfrm>
          <a:off x="0" y="0"/>
          <a:ext cx="0" cy="0"/>
          <a:chOff x="0" y="0"/>
          <a:chExt cx="0" cy="0"/>
        </a:xfrm>
      </p:grpSpPr>
      <p:sp>
        <p:nvSpPr>
          <p:cNvPr id="62" name="Freeform: Shape 61">
            <a:extLst>
              <a:ext uri="{FF2B5EF4-FFF2-40B4-BE49-F238E27FC236}">
                <a16:creationId xmlns:a16="http://schemas.microsoft.com/office/drawing/2014/main" id="{397ACD58-998B-4474-A3CF-1E08C7DFE426}"/>
              </a:ext>
            </a:extLst>
          </p:cNvPr>
          <p:cNvSpPr/>
          <p:nvPr/>
        </p:nvSpPr>
        <p:spPr bwMode="auto">
          <a:xfrm rot="2433989">
            <a:off x="9834940" y="1143329"/>
            <a:ext cx="2503089" cy="6323724"/>
          </a:xfrm>
          <a:custGeom>
            <a:avLst/>
            <a:gdLst>
              <a:gd name="connsiteX0" fmla="*/ 0 w 2503089"/>
              <a:gd name="connsiteY0" fmla="*/ 0 h 6323724"/>
              <a:gd name="connsiteX1" fmla="*/ 2503089 w 2503089"/>
              <a:gd name="connsiteY1" fmla="*/ 2923863 h 6323724"/>
              <a:gd name="connsiteX2" fmla="*/ 2503089 w 2503089"/>
              <a:gd name="connsiteY2" fmla="*/ 5072180 h 6323724"/>
              <a:gd name="connsiteX3" fmla="*/ 2446822 w 2503089"/>
              <a:gd name="connsiteY3" fmla="*/ 5444350 h 6323724"/>
              <a:gd name="connsiteX4" fmla="*/ 2417641 w 2503089"/>
              <a:gd name="connsiteY4" fmla="*/ 5524078 h 6323724"/>
              <a:gd name="connsiteX5" fmla="*/ 1517352 w 2503089"/>
              <a:gd name="connsiteY5" fmla="*/ 6294805 h 6323724"/>
              <a:gd name="connsiteX6" fmla="*/ 1503774 w 2503089"/>
              <a:gd name="connsiteY6" fmla="*/ 6298296 h 6323724"/>
              <a:gd name="connsiteX7" fmla="*/ 1251544 w 2503089"/>
              <a:gd name="connsiteY7" fmla="*/ 6323724 h 6323724"/>
              <a:gd name="connsiteX8" fmla="*/ 0 w 2503089"/>
              <a:gd name="connsiteY8" fmla="*/ 5072179 h 6323724"/>
              <a:gd name="connsiteX9" fmla="*/ 0 w 2503089"/>
              <a:gd name="connsiteY9" fmla="*/ 0 h 632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3089" h="6323724">
                <a:moveTo>
                  <a:pt x="0" y="0"/>
                </a:moveTo>
                <a:lnTo>
                  <a:pt x="2503089" y="2923863"/>
                </a:lnTo>
                <a:lnTo>
                  <a:pt x="2503089" y="5072180"/>
                </a:lnTo>
                <a:cubicBezTo>
                  <a:pt x="2503089" y="5201781"/>
                  <a:pt x="2483390" y="5326781"/>
                  <a:pt x="2446822" y="5444350"/>
                </a:cubicBezTo>
                <a:lnTo>
                  <a:pt x="2417641" y="5524078"/>
                </a:lnTo>
                <a:lnTo>
                  <a:pt x="1517352" y="6294805"/>
                </a:lnTo>
                <a:lnTo>
                  <a:pt x="1503774" y="6298296"/>
                </a:lnTo>
                <a:cubicBezTo>
                  <a:pt x="1422301" y="6314968"/>
                  <a:pt x="1337945" y="6323724"/>
                  <a:pt x="1251544" y="6323724"/>
                </a:cubicBezTo>
                <a:cubicBezTo>
                  <a:pt x="560335" y="6323724"/>
                  <a:pt x="0" y="5763389"/>
                  <a:pt x="0" y="5072179"/>
                </a:cubicBezTo>
                <a:lnTo>
                  <a:pt x="0"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8" name="Freeform: Shape 47">
            <a:extLst>
              <a:ext uri="{FF2B5EF4-FFF2-40B4-BE49-F238E27FC236}">
                <a16:creationId xmlns:a16="http://schemas.microsoft.com/office/drawing/2014/main" id="{309826C3-6538-4DDD-ADCE-DF60FA3D0D25}"/>
              </a:ext>
            </a:extLst>
          </p:cNvPr>
          <p:cNvSpPr/>
          <p:nvPr/>
        </p:nvSpPr>
        <p:spPr bwMode="auto">
          <a:xfrm rot="8101561">
            <a:off x="7302996" y="1422986"/>
            <a:ext cx="2562694" cy="6102892"/>
          </a:xfrm>
          <a:custGeom>
            <a:avLst/>
            <a:gdLst>
              <a:gd name="connsiteX0" fmla="*/ 375297 w 2562694"/>
              <a:gd name="connsiteY0" fmla="*/ 5727594 h 6102892"/>
              <a:gd name="connsiteX1" fmla="*/ 0 w 2562694"/>
              <a:gd name="connsiteY1" fmla="*/ 4821545 h 6102892"/>
              <a:gd name="connsiteX2" fmla="*/ 0 w 2562694"/>
              <a:gd name="connsiteY2" fmla="*/ 1281347 h 6102892"/>
              <a:gd name="connsiteX3" fmla="*/ 1281347 w 2562694"/>
              <a:gd name="connsiteY3" fmla="*/ 0 h 6102892"/>
              <a:gd name="connsiteX4" fmla="*/ 1539584 w 2562694"/>
              <a:gd name="connsiteY4" fmla="*/ 26032 h 6102892"/>
              <a:gd name="connsiteX5" fmla="*/ 1655396 w 2562694"/>
              <a:gd name="connsiteY5" fmla="*/ 55811 h 6102892"/>
              <a:gd name="connsiteX6" fmla="*/ 2506616 w 2562694"/>
              <a:gd name="connsiteY6" fmla="*/ 906258 h 6102892"/>
              <a:gd name="connsiteX7" fmla="*/ 2536661 w 2562694"/>
              <a:gd name="connsiteY7" fmla="*/ 1023111 h 6102892"/>
              <a:gd name="connsiteX8" fmla="*/ 2562694 w 2562694"/>
              <a:gd name="connsiteY8" fmla="*/ 1281347 h 6102892"/>
              <a:gd name="connsiteX9" fmla="*/ 2562694 w 2562694"/>
              <a:gd name="connsiteY9" fmla="*/ 4821545 h 6102892"/>
              <a:gd name="connsiteX10" fmla="*/ 1281347 w 2562694"/>
              <a:gd name="connsiteY10" fmla="*/ 6102892 h 6102892"/>
              <a:gd name="connsiteX11" fmla="*/ 375297 w 2562694"/>
              <a:gd name="connsiteY11" fmla="*/ 5727594 h 610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2694" h="6102892">
                <a:moveTo>
                  <a:pt x="375297" y="5727594"/>
                </a:moveTo>
                <a:cubicBezTo>
                  <a:pt x="143419" y="5495716"/>
                  <a:pt x="0" y="5175379"/>
                  <a:pt x="0" y="4821545"/>
                </a:cubicBezTo>
                <a:lnTo>
                  <a:pt x="0" y="1281347"/>
                </a:lnTo>
                <a:cubicBezTo>
                  <a:pt x="0" y="573678"/>
                  <a:pt x="573679" y="0"/>
                  <a:pt x="1281347" y="0"/>
                </a:cubicBezTo>
                <a:cubicBezTo>
                  <a:pt x="1369806" y="0"/>
                  <a:pt x="1456170" y="8963"/>
                  <a:pt x="1539584" y="26032"/>
                </a:cubicBezTo>
                <a:lnTo>
                  <a:pt x="1655396" y="55811"/>
                </a:lnTo>
                <a:lnTo>
                  <a:pt x="2506616" y="906258"/>
                </a:lnTo>
                <a:lnTo>
                  <a:pt x="2536661" y="1023111"/>
                </a:lnTo>
                <a:cubicBezTo>
                  <a:pt x="2553730" y="1106523"/>
                  <a:pt x="2562694" y="1192889"/>
                  <a:pt x="2562694" y="1281347"/>
                </a:cubicBezTo>
                <a:lnTo>
                  <a:pt x="2562694" y="4821545"/>
                </a:lnTo>
                <a:cubicBezTo>
                  <a:pt x="2562694" y="5529212"/>
                  <a:pt x="1989015" y="6102892"/>
                  <a:pt x="1281347" y="6102892"/>
                </a:cubicBezTo>
                <a:cubicBezTo>
                  <a:pt x="927513" y="6102892"/>
                  <a:pt x="607176" y="5959472"/>
                  <a:pt x="375297" y="5727594"/>
                </a:cubicBez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4" name="Picture 3" descr="A person working on a computer&#10;&#10;Description automatically generated with low confidence">
            <a:extLst>
              <a:ext uri="{FF2B5EF4-FFF2-40B4-BE49-F238E27FC236}">
                <a16:creationId xmlns:a16="http://schemas.microsoft.com/office/drawing/2014/main" id="{FBF25ED7-DB8E-418D-A1E6-D41777310B2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80125" y="1963864"/>
            <a:ext cx="2491518" cy="2491518"/>
          </a:xfrm>
          <a:custGeom>
            <a:avLst/>
            <a:gdLst>
              <a:gd name="connsiteX0" fmla="*/ 1336357 w 2672714"/>
              <a:gd name="connsiteY0" fmla="*/ 0 h 2672714"/>
              <a:gd name="connsiteX1" fmla="*/ 2672714 w 2672714"/>
              <a:gd name="connsiteY1" fmla="*/ 1336357 h 2672714"/>
              <a:gd name="connsiteX2" fmla="*/ 1336357 w 2672714"/>
              <a:gd name="connsiteY2" fmla="*/ 2672714 h 2672714"/>
              <a:gd name="connsiteX3" fmla="*/ 0 w 2672714"/>
              <a:gd name="connsiteY3" fmla="*/ 1336357 h 2672714"/>
              <a:gd name="connsiteX4" fmla="*/ 1336357 w 2672714"/>
              <a:gd name="connsiteY4" fmla="*/ 0 h 2672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714" h="2672714">
                <a:moveTo>
                  <a:pt x="1336357" y="0"/>
                </a:moveTo>
                <a:cubicBezTo>
                  <a:pt x="2074407" y="0"/>
                  <a:pt x="2672714" y="598307"/>
                  <a:pt x="2672714" y="1336357"/>
                </a:cubicBezTo>
                <a:cubicBezTo>
                  <a:pt x="2672714" y="2074407"/>
                  <a:pt x="2074407" y="2672714"/>
                  <a:pt x="1336357" y="2672714"/>
                </a:cubicBezTo>
                <a:cubicBezTo>
                  <a:pt x="598307" y="2672714"/>
                  <a:pt x="0" y="2074407"/>
                  <a:pt x="0" y="1336357"/>
                </a:cubicBezTo>
                <a:cubicBezTo>
                  <a:pt x="0" y="598307"/>
                  <a:pt x="598307" y="0"/>
                  <a:pt x="1336357" y="0"/>
                </a:cubicBezTo>
                <a:close/>
              </a:path>
            </a:pathLst>
          </a:custGeom>
          <a:ln w="34925">
            <a:solidFill>
              <a:schemeClr val="bg1"/>
            </a:solidFill>
          </a:ln>
        </p:spPr>
      </p:pic>
      <p:pic>
        <p:nvPicPr>
          <p:cNvPr id="5" name="Picture 4" descr="Portrait example 3">
            <a:extLst>
              <a:ext uri="{FF2B5EF4-FFF2-40B4-BE49-F238E27FC236}">
                <a16:creationId xmlns:a16="http://schemas.microsoft.com/office/drawing/2014/main" id="{253D0536-44CC-4FD3-8A9F-9E107AA394C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19394" y="4503007"/>
            <a:ext cx="2491518" cy="2383568"/>
          </a:xfrm>
          <a:custGeom>
            <a:avLst/>
            <a:gdLst>
              <a:gd name="connsiteX0" fmla="*/ 1245759 w 2491518"/>
              <a:gd name="connsiteY0" fmla="*/ 0 h 2383568"/>
              <a:gd name="connsiteX1" fmla="*/ 2491518 w 2491518"/>
              <a:gd name="connsiteY1" fmla="*/ 1245759 h 2383568"/>
              <a:gd name="connsiteX2" fmla="*/ 1839562 w 2491518"/>
              <a:gd name="connsiteY2" fmla="*/ 2341162 h 2383568"/>
              <a:gd name="connsiteX3" fmla="*/ 1751532 w 2491518"/>
              <a:gd name="connsiteY3" fmla="*/ 2383568 h 2383568"/>
              <a:gd name="connsiteX4" fmla="*/ 739986 w 2491518"/>
              <a:gd name="connsiteY4" fmla="*/ 2383568 h 2383568"/>
              <a:gd name="connsiteX5" fmla="*/ 651956 w 2491518"/>
              <a:gd name="connsiteY5" fmla="*/ 2341162 h 2383568"/>
              <a:gd name="connsiteX6" fmla="*/ 0 w 2491518"/>
              <a:gd name="connsiteY6" fmla="*/ 1245759 h 2383568"/>
              <a:gd name="connsiteX7" fmla="*/ 1245759 w 2491518"/>
              <a:gd name="connsiteY7" fmla="*/ 0 h 238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1518" h="2383568">
                <a:moveTo>
                  <a:pt x="1245759" y="0"/>
                </a:moveTo>
                <a:cubicBezTo>
                  <a:pt x="1933773" y="0"/>
                  <a:pt x="2491518" y="557745"/>
                  <a:pt x="2491518" y="1245759"/>
                </a:cubicBezTo>
                <a:cubicBezTo>
                  <a:pt x="2491518" y="1718769"/>
                  <a:pt x="2227896" y="2130206"/>
                  <a:pt x="1839562" y="2341162"/>
                </a:cubicBezTo>
                <a:lnTo>
                  <a:pt x="1751532" y="2383568"/>
                </a:lnTo>
                <a:lnTo>
                  <a:pt x="739986" y="2383568"/>
                </a:lnTo>
                <a:lnTo>
                  <a:pt x="651956" y="2341162"/>
                </a:lnTo>
                <a:cubicBezTo>
                  <a:pt x="263622" y="2130206"/>
                  <a:pt x="0" y="1718769"/>
                  <a:pt x="0" y="1245759"/>
                </a:cubicBezTo>
                <a:cubicBezTo>
                  <a:pt x="0" y="557745"/>
                  <a:pt x="557745" y="0"/>
                  <a:pt x="1245759" y="0"/>
                </a:cubicBezTo>
                <a:close/>
              </a:path>
            </a:pathLst>
          </a:custGeom>
          <a:ln w="34925">
            <a:solidFill>
              <a:schemeClr val="bg1"/>
            </a:solidFill>
          </a:ln>
        </p:spPr>
      </p:pic>
      <p:pic>
        <p:nvPicPr>
          <p:cNvPr id="9" name="Graphic 8">
            <a:extLst>
              <a:ext uri="{FF2B5EF4-FFF2-40B4-BE49-F238E27FC236}">
                <a16:creationId xmlns:a16="http://schemas.microsoft.com/office/drawing/2014/main" id="{16C0A104-EDD8-4966-8EE0-240F7697180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19101" y="419787"/>
            <a:ext cx="1454150" cy="310607"/>
          </a:xfrm>
          <a:prstGeom prst="rect">
            <a:avLst/>
          </a:prstGeom>
        </p:spPr>
      </p:pic>
      <p:sp>
        <p:nvSpPr>
          <p:cNvPr id="12" name="Text Placeholder 11">
            <a:extLst>
              <a:ext uri="{FF2B5EF4-FFF2-40B4-BE49-F238E27FC236}">
                <a16:creationId xmlns:a16="http://schemas.microsoft.com/office/drawing/2014/main" id="{E5C536ED-748B-4B48-9E16-A887711BDA7D}"/>
              </a:ext>
            </a:extLst>
          </p:cNvPr>
          <p:cNvSpPr>
            <a:spLocks noGrp="1"/>
          </p:cNvSpPr>
          <p:nvPr>
            <p:ph type="body" sz="quarter" idx="10" hasCustomPrompt="1"/>
          </p:nvPr>
        </p:nvSpPr>
        <p:spPr>
          <a:xfrm>
            <a:off x="396875" y="2792889"/>
            <a:ext cx="5343525" cy="1272222"/>
          </a:xfrm>
        </p:spPr>
        <p:txBody>
          <a:bodyPr anchor="ctr"/>
          <a:lstStyle>
            <a:lvl1pPr>
              <a:lnSpc>
                <a:spcPct val="90000"/>
              </a:lnSpc>
              <a:defRPr sz="4000">
                <a:latin typeface="+mj-lt"/>
              </a:defRPr>
            </a:lvl1pPr>
          </a:lstStyle>
          <a:p>
            <a:pPr lvl="0"/>
            <a:r>
              <a:rPr lang="en-US"/>
              <a:t>Main Title Goes Here</a:t>
            </a:r>
          </a:p>
          <a:p>
            <a:pPr lvl="0"/>
            <a:r>
              <a:rPr lang="en-US"/>
              <a:t>(2 lines)</a:t>
            </a:r>
          </a:p>
        </p:txBody>
      </p:sp>
      <p:sp>
        <p:nvSpPr>
          <p:cNvPr id="13" name="Text Placeholder 11">
            <a:extLst>
              <a:ext uri="{FF2B5EF4-FFF2-40B4-BE49-F238E27FC236}">
                <a16:creationId xmlns:a16="http://schemas.microsoft.com/office/drawing/2014/main" id="{11BCB759-A878-40A5-9C1B-E00D55659998}"/>
              </a:ext>
            </a:extLst>
          </p:cNvPr>
          <p:cNvSpPr>
            <a:spLocks noGrp="1"/>
          </p:cNvSpPr>
          <p:nvPr>
            <p:ph type="body" sz="quarter" idx="11" hasCustomPrompt="1"/>
          </p:nvPr>
        </p:nvSpPr>
        <p:spPr>
          <a:xfrm>
            <a:off x="396875" y="2311241"/>
            <a:ext cx="5343525" cy="332105"/>
          </a:xfrm>
        </p:spPr>
        <p:txBody>
          <a:bodyPr anchor="b"/>
          <a:lstStyle>
            <a:lvl1pPr marL="0" algn="l" defTabSz="914367" rtl="0" eaLnBrk="1" latinLnBrk="0" hangingPunct="1">
              <a:lnSpc>
                <a:spcPct val="100000"/>
              </a:lnSpc>
              <a:spcBef>
                <a:spcPct val="0"/>
              </a:spcBef>
              <a:buNone/>
              <a:defRPr lang="en-US" sz="2400" b="0" kern="1200" cap="none" spc="0" baseline="0" dirty="0">
                <a:ln w="3175">
                  <a:noFill/>
                </a:ln>
                <a:solidFill>
                  <a:srgbClr val="107C10"/>
                </a:solidFill>
                <a:effectLst/>
                <a:latin typeface="+mn-lt"/>
                <a:ea typeface="+mn-ea"/>
                <a:cs typeface="Segoe UI" pitchFamily="34" charset="0"/>
              </a:defRPr>
            </a:lvl1pPr>
          </a:lstStyle>
          <a:p>
            <a:pPr lvl="0"/>
            <a:r>
              <a:rPr lang="en-US"/>
              <a:t>Event name</a:t>
            </a:r>
          </a:p>
        </p:txBody>
      </p:sp>
      <p:sp>
        <p:nvSpPr>
          <p:cNvPr id="14" name="Text Placeholder 11">
            <a:extLst>
              <a:ext uri="{FF2B5EF4-FFF2-40B4-BE49-F238E27FC236}">
                <a16:creationId xmlns:a16="http://schemas.microsoft.com/office/drawing/2014/main" id="{FD709F41-BABE-45CE-AC15-71AC5A7FE0CA}"/>
              </a:ext>
            </a:extLst>
          </p:cNvPr>
          <p:cNvSpPr>
            <a:spLocks noGrp="1"/>
          </p:cNvSpPr>
          <p:nvPr>
            <p:ph type="body" sz="quarter" idx="12" hasCustomPrompt="1"/>
          </p:nvPr>
        </p:nvSpPr>
        <p:spPr>
          <a:xfrm>
            <a:off x="396875" y="4138454"/>
            <a:ext cx="5343525" cy="289430"/>
          </a:xfrm>
        </p:spPr>
        <p:txBody>
          <a:bodyPr anchor="t"/>
          <a:lstStyle>
            <a:lvl1pPr marL="0" algn="l" defTabSz="914367" rtl="0" eaLnBrk="1" latinLnBrk="0" hangingPunct="1">
              <a:lnSpc>
                <a:spcPct val="100000"/>
              </a:lnSpc>
              <a:spcBef>
                <a:spcPct val="0"/>
              </a:spcBef>
              <a:buNone/>
              <a:defRPr lang="en-US" sz="1400" b="0" kern="1200" cap="none" spc="0" baseline="0" dirty="0">
                <a:ln w="3175">
                  <a:noFill/>
                </a:ln>
                <a:solidFill>
                  <a:schemeClr val="tx1"/>
                </a:solidFill>
                <a:effectLst/>
                <a:latin typeface="+mn-lt"/>
                <a:ea typeface="+mn-ea"/>
                <a:cs typeface="Segoe UI" pitchFamily="34" charset="0"/>
              </a:defRPr>
            </a:lvl1pPr>
          </a:lstStyle>
          <a:p>
            <a:r>
              <a:rPr lang="en-US"/>
              <a:t>Speaker/Date</a:t>
            </a:r>
          </a:p>
        </p:txBody>
      </p:sp>
      <p:sp>
        <p:nvSpPr>
          <p:cNvPr id="52" name="Freeform: Shape 51">
            <a:extLst>
              <a:ext uri="{FF2B5EF4-FFF2-40B4-BE49-F238E27FC236}">
                <a16:creationId xmlns:a16="http://schemas.microsoft.com/office/drawing/2014/main" id="{555E3BC6-2B29-498D-8FA3-2BDF0A6C7BCE}"/>
              </a:ext>
            </a:extLst>
          </p:cNvPr>
          <p:cNvSpPr/>
          <p:nvPr/>
        </p:nvSpPr>
        <p:spPr bwMode="auto">
          <a:xfrm>
            <a:off x="7840781" y="1"/>
            <a:ext cx="2535119" cy="1935317"/>
          </a:xfrm>
          <a:custGeom>
            <a:avLst/>
            <a:gdLst>
              <a:gd name="connsiteX0" fmla="*/ 190064 w 2535119"/>
              <a:gd name="connsiteY0" fmla="*/ 0 h 1935317"/>
              <a:gd name="connsiteX1" fmla="*/ 565645 w 2535119"/>
              <a:gd name="connsiteY1" fmla="*/ 0 h 1935317"/>
              <a:gd name="connsiteX2" fmla="*/ 463885 w 2535119"/>
              <a:gd name="connsiteY2" fmla="*/ 123496 h 1935317"/>
              <a:gd name="connsiteX3" fmla="*/ 298361 w 2535119"/>
              <a:gd name="connsiteY3" fmla="*/ 666095 h 1935317"/>
              <a:gd name="connsiteX4" fmla="*/ 1267559 w 2535119"/>
              <a:gd name="connsiteY4" fmla="*/ 1636565 h 1935317"/>
              <a:gd name="connsiteX5" fmla="*/ 2236759 w 2535119"/>
              <a:gd name="connsiteY5" fmla="*/ 666095 h 1935317"/>
              <a:gd name="connsiteX6" fmla="*/ 2071235 w 2535119"/>
              <a:gd name="connsiteY6" fmla="*/ 123496 h 1935317"/>
              <a:gd name="connsiteX7" fmla="*/ 1969475 w 2535119"/>
              <a:gd name="connsiteY7" fmla="*/ 0 h 1935317"/>
              <a:gd name="connsiteX8" fmla="*/ 2345056 w 2535119"/>
              <a:gd name="connsiteY8" fmla="*/ 0 h 1935317"/>
              <a:gd name="connsiteX9" fmla="*/ 2382131 w 2535119"/>
              <a:gd name="connsiteY9" fmla="*/ 61109 h 1935317"/>
              <a:gd name="connsiteX10" fmla="*/ 2535119 w 2535119"/>
              <a:gd name="connsiteY10" fmla="*/ 666095 h 1935317"/>
              <a:gd name="connsiteX11" fmla="*/ 1267559 w 2535119"/>
              <a:gd name="connsiteY11" fmla="*/ 1935317 h 1935317"/>
              <a:gd name="connsiteX12" fmla="*/ 0 w 2535119"/>
              <a:gd name="connsiteY12" fmla="*/ 666095 h 1935317"/>
              <a:gd name="connsiteX13" fmla="*/ 152988 w 2535119"/>
              <a:gd name="connsiteY13" fmla="*/ 61109 h 1935317"/>
              <a:gd name="connsiteX14" fmla="*/ 190064 w 2535119"/>
              <a:gd name="connsiteY14" fmla="*/ 0 h 193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5119" h="1935317">
                <a:moveTo>
                  <a:pt x="190064" y="0"/>
                </a:moveTo>
                <a:lnTo>
                  <a:pt x="565645" y="0"/>
                </a:lnTo>
                <a:lnTo>
                  <a:pt x="463885" y="123496"/>
                </a:lnTo>
                <a:cubicBezTo>
                  <a:pt x="359382" y="278384"/>
                  <a:pt x="298361" y="465104"/>
                  <a:pt x="298361" y="666095"/>
                </a:cubicBezTo>
                <a:cubicBezTo>
                  <a:pt x="298361" y="1202070"/>
                  <a:pt x="732286" y="1636565"/>
                  <a:pt x="1267559" y="1636565"/>
                </a:cubicBezTo>
                <a:cubicBezTo>
                  <a:pt x="1802833" y="1636565"/>
                  <a:pt x="2236759" y="1202070"/>
                  <a:pt x="2236759" y="666095"/>
                </a:cubicBezTo>
                <a:cubicBezTo>
                  <a:pt x="2236759" y="465104"/>
                  <a:pt x="2175738" y="278384"/>
                  <a:pt x="2071235" y="123496"/>
                </a:cubicBezTo>
                <a:lnTo>
                  <a:pt x="1969475" y="0"/>
                </a:lnTo>
                <a:lnTo>
                  <a:pt x="2345056" y="0"/>
                </a:lnTo>
                <a:lnTo>
                  <a:pt x="2382131" y="61109"/>
                </a:lnTo>
                <a:cubicBezTo>
                  <a:pt x="2479698" y="240949"/>
                  <a:pt x="2535119" y="447042"/>
                  <a:pt x="2535119" y="666095"/>
                </a:cubicBezTo>
                <a:cubicBezTo>
                  <a:pt x="2535119" y="1367066"/>
                  <a:pt x="1967613" y="1935317"/>
                  <a:pt x="1267559" y="1935317"/>
                </a:cubicBezTo>
                <a:cubicBezTo>
                  <a:pt x="567507" y="1935317"/>
                  <a:pt x="0" y="1367066"/>
                  <a:pt x="0" y="666095"/>
                </a:cubicBezTo>
                <a:cubicBezTo>
                  <a:pt x="0" y="447042"/>
                  <a:pt x="55421" y="240949"/>
                  <a:pt x="152988" y="61109"/>
                </a:cubicBezTo>
                <a:lnTo>
                  <a:pt x="19006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67633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482613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ver Slide 2">
    <p:bg>
      <p:bgPr>
        <a:solidFill>
          <a:schemeClr val="bg1">
            <a:lumMod val="95000"/>
          </a:schemeClr>
        </a:solidFill>
        <a:effectLst/>
      </p:bgPr>
    </p:bg>
    <p:spTree>
      <p:nvGrpSpPr>
        <p:cNvPr id="1" name=""/>
        <p:cNvGrpSpPr/>
        <p:nvPr/>
      </p:nvGrpSpPr>
      <p:grpSpPr>
        <a:xfrm>
          <a:off x="0" y="0"/>
          <a:ext cx="0" cy="0"/>
          <a:chOff x="0" y="0"/>
          <a:chExt cx="0" cy="0"/>
        </a:xfrm>
      </p:grpSpPr>
      <p:pic>
        <p:nvPicPr>
          <p:cNvPr id="19" name="Picture 18" descr="A person sitting on a desk with a computer&#10;&#10;Description automatically generated with low confidence">
            <a:extLst>
              <a:ext uri="{FF2B5EF4-FFF2-40B4-BE49-F238E27FC236}">
                <a16:creationId xmlns:a16="http://schemas.microsoft.com/office/drawing/2014/main" id="{96FF44D0-5539-4AB2-AF7A-082085DBE22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custGeom>
            <a:avLst/>
            <a:gdLst>
              <a:gd name="connsiteX0" fmla="*/ 0 w 3733400"/>
              <a:gd name="connsiteY0" fmla="*/ 0 h 5362200"/>
              <a:gd name="connsiteX1" fmla="*/ 3733400 w 3733400"/>
              <a:gd name="connsiteY1" fmla="*/ 0 h 5362200"/>
              <a:gd name="connsiteX2" fmla="*/ 3733400 w 3733400"/>
              <a:gd name="connsiteY2" fmla="*/ 5362200 h 5362200"/>
              <a:gd name="connsiteX3" fmla="*/ 0 w 3733400"/>
              <a:gd name="connsiteY3" fmla="*/ 5362200 h 5362200"/>
            </a:gdLst>
            <a:ahLst/>
            <a:cxnLst>
              <a:cxn ang="0">
                <a:pos x="connsiteX0" y="connsiteY0"/>
              </a:cxn>
              <a:cxn ang="0">
                <a:pos x="connsiteX1" y="connsiteY1"/>
              </a:cxn>
              <a:cxn ang="0">
                <a:pos x="connsiteX2" y="connsiteY2"/>
              </a:cxn>
              <a:cxn ang="0">
                <a:pos x="connsiteX3" y="connsiteY3"/>
              </a:cxn>
            </a:cxnLst>
            <a:rect l="l" t="t" r="r" b="b"/>
            <a:pathLst>
              <a:path w="3733400" h="5362200">
                <a:moveTo>
                  <a:pt x="0" y="0"/>
                </a:moveTo>
                <a:lnTo>
                  <a:pt x="3733400" y="0"/>
                </a:lnTo>
                <a:lnTo>
                  <a:pt x="3733400" y="5362200"/>
                </a:lnTo>
                <a:lnTo>
                  <a:pt x="0" y="5362200"/>
                </a:lnTo>
                <a:close/>
              </a:path>
            </a:pathLst>
          </a:custGeom>
        </p:spPr>
      </p:pic>
      <p:sp>
        <p:nvSpPr>
          <p:cNvPr id="20" name="Rectangle 19">
            <a:extLst>
              <a:ext uri="{FF2B5EF4-FFF2-40B4-BE49-F238E27FC236}">
                <a16:creationId xmlns:a16="http://schemas.microsoft.com/office/drawing/2014/main" id="{D9B30809-9FE6-4628-A853-3C44D1FE59CA}"/>
              </a:ext>
            </a:extLst>
          </p:cNvPr>
          <p:cNvSpPr/>
          <p:nvPr/>
        </p:nvSpPr>
        <p:spPr bwMode="auto">
          <a:xfrm>
            <a:off x="0" y="0"/>
            <a:ext cx="12192000" cy="6858000"/>
          </a:xfrm>
          <a:prstGeom prst="rect">
            <a:avLst/>
          </a:prstGeom>
          <a:gradFill flip="none" rotWithShape="1">
            <a:gsLst>
              <a:gs pos="28000">
                <a:schemeClr val="tx1">
                  <a:alpha val="89000"/>
                </a:schemeClr>
              </a:gs>
              <a:gs pos="72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4" name="Freeform: Shape 43">
            <a:extLst>
              <a:ext uri="{FF2B5EF4-FFF2-40B4-BE49-F238E27FC236}">
                <a16:creationId xmlns:a16="http://schemas.microsoft.com/office/drawing/2014/main" id="{86880C33-808B-4D42-B8E4-D470F5C3AD9F}"/>
              </a:ext>
            </a:extLst>
          </p:cNvPr>
          <p:cNvSpPr/>
          <p:nvPr/>
        </p:nvSpPr>
        <p:spPr bwMode="auto">
          <a:xfrm>
            <a:off x="7391400" y="-1"/>
            <a:ext cx="2389974" cy="1670221"/>
          </a:xfrm>
          <a:custGeom>
            <a:avLst/>
            <a:gdLst>
              <a:gd name="connsiteX0" fmla="*/ 84836 w 2052810"/>
              <a:gd name="connsiteY0" fmla="*/ 0 h 1434596"/>
              <a:gd name="connsiteX1" fmla="*/ 359020 w 2052810"/>
              <a:gd name="connsiteY1" fmla="*/ 0 h 1434596"/>
              <a:gd name="connsiteX2" fmla="*/ 303271 w 2052810"/>
              <a:gd name="connsiteY2" fmla="*/ 102709 h 1434596"/>
              <a:gd name="connsiteX3" fmla="*/ 241597 w 2052810"/>
              <a:gd name="connsiteY3" fmla="*/ 408191 h 1434596"/>
              <a:gd name="connsiteX4" fmla="*/ 1026405 w 2052810"/>
              <a:gd name="connsiteY4" fmla="*/ 1192999 h 1434596"/>
              <a:gd name="connsiteX5" fmla="*/ 1811213 w 2052810"/>
              <a:gd name="connsiteY5" fmla="*/ 408191 h 1434596"/>
              <a:gd name="connsiteX6" fmla="*/ 1749539 w 2052810"/>
              <a:gd name="connsiteY6" fmla="*/ 102709 h 1434596"/>
              <a:gd name="connsiteX7" fmla="*/ 1693790 w 2052810"/>
              <a:gd name="connsiteY7" fmla="*/ 0 h 1434596"/>
              <a:gd name="connsiteX8" fmla="*/ 1967974 w 2052810"/>
              <a:gd name="connsiteY8" fmla="*/ 0 h 1434596"/>
              <a:gd name="connsiteX9" fmla="*/ 1972150 w 2052810"/>
              <a:gd name="connsiteY9" fmla="*/ 8668 h 1434596"/>
              <a:gd name="connsiteX10" fmla="*/ 2052810 w 2052810"/>
              <a:gd name="connsiteY10" fmla="*/ 408191 h 1434596"/>
              <a:gd name="connsiteX11" fmla="*/ 1026405 w 2052810"/>
              <a:gd name="connsiteY11" fmla="*/ 1434596 h 1434596"/>
              <a:gd name="connsiteX12" fmla="*/ 0 w 2052810"/>
              <a:gd name="connsiteY12" fmla="*/ 408191 h 1434596"/>
              <a:gd name="connsiteX13" fmla="*/ 80660 w 2052810"/>
              <a:gd name="connsiteY13" fmla="*/ 8668 h 1434596"/>
              <a:gd name="connsiteX14" fmla="*/ 84836 w 2052810"/>
              <a:gd name="connsiteY14" fmla="*/ 0 h 143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2810" h="1434596">
                <a:moveTo>
                  <a:pt x="84836" y="0"/>
                </a:moveTo>
                <a:lnTo>
                  <a:pt x="359020" y="0"/>
                </a:lnTo>
                <a:lnTo>
                  <a:pt x="303271" y="102709"/>
                </a:lnTo>
                <a:cubicBezTo>
                  <a:pt x="263558" y="196602"/>
                  <a:pt x="241597" y="299832"/>
                  <a:pt x="241597" y="408191"/>
                </a:cubicBezTo>
                <a:cubicBezTo>
                  <a:pt x="241597" y="841628"/>
                  <a:pt x="592968" y="1192999"/>
                  <a:pt x="1026405" y="1192999"/>
                </a:cubicBezTo>
                <a:cubicBezTo>
                  <a:pt x="1459842" y="1192999"/>
                  <a:pt x="1811213" y="841628"/>
                  <a:pt x="1811213" y="408191"/>
                </a:cubicBezTo>
                <a:cubicBezTo>
                  <a:pt x="1811213" y="299832"/>
                  <a:pt x="1789252" y="196602"/>
                  <a:pt x="1749539" y="102709"/>
                </a:cubicBezTo>
                <a:lnTo>
                  <a:pt x="1693790" y="0"/>
                </a:lnTo>
                <a:lnTo>
                  <a:pt x="1967974" y="0"/>
                </a:lnTo>
                <a:lnTo>
                  <a:pt x="1972150" y="8668"/>
                </a:lnTo>
                <a:cubicBezTo>
                  <a:pt x="2024089" y="131466"/>
                  <a:pt x="2052810" y="266474"/>
                  <a:pt x="2052810" y="408191"/>
                </a:cubicBezTo>
                <a:cubicBezTo>
                  <a:pt x="2052810" y="975058"/>
                  <a:pt x="1593272" y="1434596"/>
                  <a:pt x="1026405" y="1434596"/>
                </a:cubicBezTo>
                <a:cubicBezTo>
                  <a:pt x="459538" y="1434596"/>
                  <a:pt x="0" y="975058"/>
                  <a:pt x="0" y="408191"/>
                </a:cubicBezTo>
                <a:cubicBezTo>
                  <a:pt x="0" y="266474"/>
                  <a:pt x="28721" y="131466"/>
                  <a:pt x="80660" y="8668"/>
                </a:cubicBezTo>
                <a:lnTo>
                  <a:pt x="84836"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algn="l">
              <a:lnSpc>
                <a:spcPct val="107000"/>
              </a:lnSpc>
              <a:spcBef>
                <a:spcPts val="0"/>
              </a:spcBef>
              <a:spcAft>
                <a:spcPts val="800"/>
              </a:spcAft>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0" name="Freeform: Shape 39">
            <a:extLst>
              <a:ext uri="{FF2B5EF4-FFF2-40B4-BE49-F238E27FC236}">
                <a16:creationId xmlns:a16="http://schemas.microsoft.com/office/drawing/2014/main" id="{7F399665-C621-4038-97FC-8845E6892AEA}"/>
              </a:ext>
            </a:extLst>
          </p:cNvPr>
          <p:cNvSpPr/>
          <p:nvPr/>
        </p:nvSpPr>
        <p:spPr bwMode="auto">
          <a:xfrm rot="2433989">
            <a:off x="9570581" y="1290319"/>
            <a:ext cx="2408993" cy="7171501"/>
          </a:xfrm>
          <a:custGeom>
            <a:avLst/>
            <a:gdLst>
              <a:gd name="connsiteX0" fmla="*/ 1 w 2408993"/>
              <a:gd name="connsiteY0" fmla="*/ 0 h 7171501"/>
              <a:gd name="connsiteX1" fmla="*/ 2408993 w 2408993"/>
              <a:gd name="connsiteY1" fmla="*/ 2813950 h 7171501"/>
              <a:gd name="connsiteX2" fmla="*/ 2408993 w 2408993"/>
              <a:gd name="connsiteY2" fmla="*/ 5163592 h 7171501"/>
              <a:gd name="connsiteX3" fmla="*/ 63551 w 2408993"/>
              <a:gd name="connsiteY3" fmla="*/ 7171501 h 7171501"/>
              <a:gd name="connsiteX4" fmla="*/ 54153 w 2408993"/>
              <a:gd name="connsiteY4" fmla="*/ 7145821 h 7171501"/>
              <a:gd name="connsiteX5" fmla="*/ 0 w 2408993"/>
              <a:gd name="connsiteY5" fmla="*/ 6787640 h 7171501"/>
              <a:gd name="connsiteX6" fmla="*/ 1 w 2408993"/>
              <a:gd name="connsiteY6" fmla="*/ 0 h 717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8993" h="7171501">
                <a:moveTo>
                  <a:pt x="1" y="0"/>
                </a:moveTo>
                <a:lnTo>
                  <a:pt x="2408993" y="2813950"/>
                </a:lnTo>
                <a:lnTo>
                  <a:pt x="2408993" y="5163592"/>
                </a:lnTo>
                <a:lnTo>
                  <a:pt x="63551" y="7171501"/>
                </a:lnTo>
                <a:lnTo>
                  <a:pt x="54153" y="7145821"/>
                </a:lnTo>
                <a:cubicBezTo>
                  <a:pt x="18960" y="7032672"/>
                  <a:pt x="0" y="6912370"/>
                  <a:pt x="0" y="6787640"/>
                </a:cubicBezTo>
                <a:lnTo>
                  <a:pt x="1"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3" name="Freeform: Shape 32">
            <a:extLst>
              <a:ext uri="{FF2B5EF4-FFF2-40B4-BE49-F238E27FC236}">
                <a16:creationId xmlns:a16="http://schemas.microsoft.com/office/drawing/2014/main" id="{2EA50923-0D5A-455F-8FE0-7A4BBE4F3639}"/>
              </a:ext>
            </a:extLst>
          </p:cNvPr>
          <p:cNvSpPr/>
          <p:nvPr/>
        </p:nvSpPr>
        <p:spPr bwMode="auto">
          <a:xfrm rot="8101561">
            <a:off x="6030956" y="3293494"/>
            <a:ext cx="2408993" cy="5096712"/>
          </a:xfrm>
          <a:custGeom>
            <a:avLst/>
            <a:gdLst>
              <a:gd name="connsiteX0" fmla="*/ 352788 w 2408993"/>
              <a:gd name="connsiteY0" fmla="*/ 4743921 h 5096712"/>
              <a:gd name="connsiteX1" fmla="*/ 0 w 2408993"/>
              <a:gd name="connsiteY1" fmla="*/ 3892214 h 5096712"/>
              <a:gd name="connsiteX2" fmla="*/ 0 w 2408993"/>
              <a:gd name="connsiteY2" fmla="*/ 460305 h 5096712"/>
              <a:gd name="connsiteX3" fmla="*/ 54152 w 2408993"/>
              <a:gd name="connsiteY3" fmla="*/ 102125 h 5096712"/>
              <a:gd name="connsiteX4" fmla="*/ 91530 w 2408993"/>
              <a:gd name="connsiteY4" fmla="*/ 0 h 5096712"/>
              <a:gd name="connsiteX5" fmla="*/ 2408993 w 2408993"/>
              <a:gd name="connsiteY5" fmla="*/ 2315360 h 5096712"/>
              <a:gd name="connsiteX6" fmla="*/ 2408993 w 2408993"/>
              <a:gd name="connsiteY6" fmla="*/ 3892214 h 5096712"/>
              <a:gd name="connsiteX7" fmla="*/ 1204496 w 2408993"/>
              <a:gd name="connsiteY7" fmla="*/ 5096712 h 5096712"/>
              <a:gd name="connsiteX8" fmla="*/ 1204497 w 2408993"/>
              <a:gd name="connsiteY8" fmla="*/ 5096711 h 5096712"/>
              <a:gd name="connsiteX9" fmla="*/ 352788 w 2408993"/>
              <a:gd name="connsiteY9" fmla="*/ 4743921 h 509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8993" h="5096712">
                <a:moveTo>
                  <a:pt x="352788" y="4743921"/>
                </a:moveTo>
                <a:cubicBezTo>
                  <a:pt x="134818" y="4525951"/>
                  <a:pt x="0" y="4224826"/>
                  <a:pt x="0" y="3892214"/>
                </a:cubicBezTo>
                <a:lnTo>
                  <a:pt x="0" y="460305"/>
                </a:lnTo>
                <a:cubicBezTo>
                  <a:pt x="0" y="335575"/>
                  <a:pt x="18958" y="215273"/>
                  <a:pt x="54152" y="102125"/>
                </a:cubicBezTo>
                <a:lnTo>
                  <a:pt x="91530" y="0"/>
                </a:lnTo>
                <a:lnTo>
                  <a:pt x="2408993" y="2315360"/>
                </a:lnTo>
                <a:lnTo>
                  <a:pt x="2408993" y="3892214"/>
                </a:lnTo>
                <a:cubicBezTo>
                  <a:pt x="2408993" y="4557440"/>
                  <a:pt x="1869721" y="5096711"/>
                  <a:pt x="1204496" y="5096712"/>
                </a:cubicBezTo>
                <a:lnTo>
                  <a:pt x="1204497" y="5096711"/>
                </a:lnTo>
                <a:cubicBezTo>
                  <a:pt x="871884" y="5096711"/>
                  <a:pt x="570760" y="4961893"/>
                  <a:pt x="352788" y="4743921"/>
                </a:cubicBez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9" name="Freeform: Shape 28">
            <a:extLst>
              <a:ext uri="{FF2B5EF4-FFF2-40B4-BE49-F238E27FC236}">
                <a16:creationId xmlns:a16="http://schemas.microsoft.com/office/drawing/2014/main" id="{6DAE4FE0-9860-4C52-9741-6868BB4E388F}"/>
              </a:ext>
            </a:extLst>
          </p:cNvPr>
          <p:cNvSpPr/>
          <p:nvPr/>
        </p:nvSpPr>
        <p:spPr bwMode="auto">
          <a:xfrm>
            <a:off x="7540073" y="6058016"/>
            <a:ext cx="2311822" cy="799985"/>
          </a:xfrm>
          <a:custGeom>
            <a:avLst/>
            <a:gdLst>
              <a:gd name="connsiteX0" fmla="*/ 1155911 w 2311822"/>
              <a:gd name="connsiteY0" fmla="*/ 0 h 799985"/>
              <a:gd name="connsiteX1" fmla="*/ 2295491 w 2311822"/>
              <a:gd name="connsiteY1" fmla="*/ 755365 h 799985"/>
              <a:gd name="connsiteX2" fmla="*/ 2311822 w 2311822"/>
              <a:gd name="connsiteY2" fmla="*/ 799985 h 799985"/>
              <a:gd name="connsiteX3" fmla="*/ 0 w 2311822"/>
              <a:gd name="connsiteY3" fmla="*/ 799985 h 799985"/>
              <a:gd name="connsiteX4" fmla="*/ 16331 w 2311822"/>
              <a:gd name="connsiteY4" fmla="*/ 755365 h 799985"/>
              <a:gd name="connsiteX5" fmla="*/ 1155911 w 2311822"/>
              <a:gd name="connsiteY5" fmla="*/ 0 h 79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1822" h="799985">
                <a:moveTo>
                  <a:pt x="1155911" y="0"/>
                </a:moveTo>
                <a:cubicBezTo>
                  <a:pt x="1668199" y="0"/>
                  <a:pt x="2107739" y="311469"/>
                  <a:pt x="2295491" y="755365"/>
                </a:cubicBezTo>
                <a:lnTo>
                  <a:pt x="2311822" y="799985"/>
                </a:lnTo>
                <a:lnTo>
                  <a:pt x="0" y="799985"/>
                </a:lnTo>
                <a:lnTo>
                  <a:pt x="16331" y="755365"/>
                </a:lnTo>
                <a:cubicBezTo>
                  <a:pt x="204083" y="311469"/>
                  <a:pt x="643624" y="0"/>
                  <a:pt x="115591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2" name="Text Placeholder 11">
            <a:extLst>
              <a:ext uri="{FF2B5EF4-FFF2-40B4-BE49-F238E27FC236}">
                <a16:creationId xmlns:a16="http://schemas.microsoft.com/office/drawing/2014/main" id="{E5C536ED-748B-4B48-9E16-A887711BDA7D}"/>
              </a:ext>
            </a:extLst>
          </p:cNvPr>
          <p:cNvSpPr>
            <a:spLocks noGrp="1"/>
          </p:cNvSpPr>
          <p:nvPr>
            <p:ph type="body" sz="quarter" idx="10" hasCustomPrompt="1"/>
          </p:nvPr>
        </p:nvSpPr>
        <p:spPr>
          <a:xfrm>
            <a:off x="448908" y="2489886"/>
            <a:ext cx="5343525" cy="1272222"/>
          </a:xfrm>
        </p:spPr>
        <p:txBody>
          <a:bodyPr anchor="ctr"/>
          <a:lstStyle>
            <a:lvl1pPr>
              <a:lnSpc>
                <a:spcPct val="90000"/>
              </a:lnSpc>
              <a:defRPr sz="4000">
                <a:solidFill>
                  <a:schemeClr val="bg1"/>
                </a:solidFill>
                <a:latin typeface="+mj-lt"/>
              </a:defRPr>
            </a:lvl1pPr>
          </a:lstStyle>
          <a:p>
            <a:pPr lvl="0"/>
            <a:r>
              <a:rPr lang="en-US"/>
              <a:t>Main Title Goes Here</a:t>
            </a:r>
          </a:p>
          <a:p>
            <a:pPr lvl="0"/>
            <a:r>
              <a:rPr lang="en-US"/>
              <a:t>(2 lines)</a:t>
            </a:r>
          </a:p>
        </p:txBody>
      </p:sp>
      <p:sp>
        <p:nvSpPr>
          <p:cNvPr id="13" name="Text Placeholder 11">
            <a:extLst>
              <a:ext uri="{FF2B5EF4-FFF2-40B4-BE49-F238E27FC236}">
                <a16:creationId xmlns:a16="http://schemas.microsoft.com/office/drawing/2014/main" id="{11BCB759-A878-40A5-9C1B-E00D55659998}"/>
              </a:ext>
            </a:extLst>
          </p:cNvPr>
          <p:cNvSpPr>
            <a:spLocks noGrp="1"/>
          </p:cNvSpPr>
          <p:nvPr>
            <p:ph type="body" sz="quarter" idx="11" hasCustomPrompt="1"/>
          </p:nvPr>
        </p:nvSpPr>
        <p:spPr>
          <a:xfrm>
            <a:off x="448908" y="2008238"/>
            <a:ext cx="5343525" cy="332105"/>
          </a:xfrm>
        </p:spPr>
        <p:txBody>
          <a:bodyPr anchor="b"/>
          <a:lstStyle>
            <a:lvl1pPr marL="0" algn="l" defTabSz="914367" rtl="0" eaLnBrk="1" latinLnBrk="0" hangingPunct="1">
              <a:lnSpc>
                <a:spcPct val="100000"/>
              </a:lnSpc>
              <a:spcBef>
                <a:spcPct val="0"/>
              </a:spcBef>
              <a:buNone/>
              <a:defRPr lang="en-US" sz="2400" b="0" kern="1200" cap="none" spc="0" baseline="0" dirty="0">
                <a:ln w="3175">
                  <a:noFill/>
                </a:ln>
                <a:solidFill>
                  <a:schemeClr val="accent1"/>
                </a:solidFill>
                <a:effectLst/>
                <a:latin typeface="+mn-lt"/>
                <a:ea typeface="+mn-ea"/>
                <a:cs typeface="Segoe UI" pitchFamily="34" charset="0"/>
              </a:defRPr>
            </a:lvl1pPr>
          </a:lstStyle>
          <a:p>
            <a:pPr lvl="0"/>
            <a:r>
              <a:rPr lang="en-US"/>
              <a:t>Event name</a:t>
            </a:r>
          </a:p>
        </p:txBody>
      </p:sp>
      <p:sp>
        <p:nvSpPr>
          <p:cNvPr id="14" name="Text Placeholder 11">
            <a:extLst>
              <a:ext uri="{FF2B5EF4-FFF2-40B4-BE49-F238E27FC236}">
                <a16:creationId xmlns:a16="http://schemas.microsoft.com/office/drawing/2014/main" id="{FD709F41-BABE-45CE-AC15-71AC5A7FE0CA}"/>
              </a:ext>
            </a:extLst>
          </p:cNvPr>
          <p:cNvSpPr>
            <a:spLocks noGrp="1"/>
          </p:cNvSpPr>
          <p:nvPr>
            <p:ph type="body" sz="quarter" idx="12" hasCustomPrompt="1"/>
          </p:nvPr>
        </p:nvSpPr>
        <p:spPr>
          <a:xfrm>
            <a:off x="448908" y="3835451"/>
            <a:ext cx="3777859" cy="289430"/>
          </a:xfrm>
        </p:spPr>
        <p:txBody>
          <a:bodyPr anchor="t"/>
          <a:lstStyle>
            <a:lvl1pPr marL="0" algn="l" defTabSz="914367" rtl="0" eaLnBrk="1" latinLnBrk="0" hangingPunct="1">
              <a:lnSpc>
                <a:spcPct val="100000"/>
              </a:lnSpc>
              <a:spcBef>
                <a:spcPct val="0"/>
              </a:spcBef>
              <a:buNone/>
              <a:defRPr lang="en-US" sz="1400" b="0" kern="1200" cap="none" spc="0" baseline="0" dirty="0">
                <a:ln w="3175">
                  <a:noFill/>
                </a:ln>
                <a:solidFill>
                  <a:schemeClr val="bg1"/>
                </a:solidFill>
                <a:effectLst/>
                <a:latin typeface="+mn-lt"/>
                <a:ea typeface="+mn-ea"/>
                <a:cs typeface="Segoe UI" pitchFamily="34" charset="0"/>
              </a:defRPr>
            </a:lvl1pPr>
          </a:lstStyle>
          <a:p>
            <a:r>
              <a:rPr lang="en-US"/>
              <a:t>Speaker/Date</a:t>
            </a:r>
          </a:p>
        </p:txBody>
      </p:sp>
      <p:grpSp>
        <p:nvGrpSpPr>
          <p:cNvPr id="51" name="Group 50">
            <a:extLst>
              <a:ext uri="{FF2B5EF4-FFF2-40B4-BE49-F238E27FC236}">
                <a16:creationId xmlns:a16="http://schemas.microsoft.com/office/drawing/2014/main" id="{7C27BFA4-3937-40AF-9083-6BD36E588C95}"/>
              </a:ext>
            </a:extLst>
          </p:cNvPr>
          <p:cNvGrpSpPr/>
          <p:nvPr/>
        </p:nvGrpSpPr>
        <p:grpSpPr>
          <a:xfrm>
            <a:off x="419101" y="419787"/>
            <a:ext cx="1453797" cy="310177"/>
            <a:chOff x="419101" y="419787"/>
            <a:chExt cx="1453797" cy="310177"/>
          </a:xfrm>
        </p:grpSpPr>
        <p:sp>
          <p:nvSpPr>
            <p:cNvPr id="7" name="Freeform: Shape 6">
              <a:extLst>
                <a:ext uri="{FF2B5EF4-FFF2-40B4-BE49-F238E27FC236}">
                  <a16:creationId xmlns:a16="http://schemas.microsoft.com/office/drawing/2014/main" id="{07FFEC32-771C-4FCE-88AF-CF0758911111}"/>
                </a:ext>
              </a:extLst>
            </p:cNvPr>
            <p:cNvSpPr/>
            <p:nvPr/>
          </p:nvSpPr>
          <p:spPr>
            <a:xfrm>
              <a:off x="822451" y="468278"/>
              <a:ext cx="1050447" cy="202684"/>
            </a:xfrm>
            <a:custGeom>
              <a:avLst/>
              <a:gdLst>
                <a:gd name="connsiteX0" fmla="*/ 1050448 w 1050447"/>
                <a:gd name="connsiteY0" fmla="*/ 91827 h 202684"/>
                <a:gd name="connsiteX1" fmla="*/ 1050448 w 1050447"/>
                <a:gd name="connsiteY1" fmla="*/ 66276 h 202684"/>
                <a:gd name="connsiteX2" fmla="*/ 1018693 w 1050447"/>
                <a:gd name="connsiteY2" fmla="*/ 66276 h 202684"/>
                <a:gd name="connsiteX3" fmla="*/ 1018693 w 1050447"/>
                <a:gd name="connsiteY3" fmla="*/ 26553 h 202684"/>
                <a:gd name="connsiteX4" fmla="*/ 1017624 w 1050447"/>
                <a:gd name="connsiteY4" fmla="*/ 26882 h 202684"/>
                <a:gd name="connsiteX5" fmla="*/ 987802 w 1050447"/>
                <a:gd name="connsiteY5" fmla="*/ 36001 h 202684"/>
                <a:gd name="connsiteX6" fmla="*/ 987215 w 1050447"/>
                <a:gd name="connsiteY6" fmla="*/ 36179 h 202684"/>
                <a:gd name="connsiteX7" fmla="*/ 987215 w 1050447"/>
                <a:gd name="connsiteY7" fmla="*/ 66277 h 202684"/>
                <a:gd name="connsiteX8" fmla="*/ 940146 w 1050447"/>
                <a:gd name="connsiteY8" fmla="*/ 66277 h 202684"/>
                <a:gd name="connsiteX9" fmla="*/ 940146 w 1050447"/>
                <a:gd name="connsiteY9" fmla="*/ 49510 h 202684"/>
                <a:gd name="connsiteX10" fmla="*/ 945335 w 1050447"/>
                <a:gd name="connsiteY10" fmla="*/ 31744 h 202684"/>
                <a:gd name="connsiteX11" fmla="*/ 959881 w 1050447"/>
                <a:gd name="connsiteY11" fmla="*/ 25806 h 202684"/>
                <a:gd name="connsiteX12" fmla="*/ 973679 w 1050447"/>
                <a:gd name="connsiteY12" fmla="*/ 28943 h 202684"/>
                <a:gd name="connsiteX13" fmla="*/ 974850 w 1050447"/>
                <a:gd name="connsiteY13" fmla="*/ 29466 h 202684"/>
                <a:gd name="connsiteX14" fmla="*/ 974850 w 1050447"/>
                <a:gd name="connsiteY14" fmla="*/ 2557 h 202684"/>
                <a:gd name="connsiteX15" fmla="*/ 974299 w 1050447"/>
                <a:gd name="connsiteY15" fmla="*/ 2354 h 202684"/>
                <a:gd name="connsiteX16" fmla="*/ 956665 w 1050447"/>
                <a:gd name="connsiteY16" fmla="*/ 0 h 202684"/>
                <a:gd name="connsiteX17" fmla="*/ 931652 w 1050447"/>
                <a:gd name="connsiteY17" fmla="*/ 6006 h 202684"/>
                <a:gd name="connsiteX18" fmla="*/ 914487 w 1050447"/>
                <a:gd name="connsiteY18" fmla="*/ 22964 h 202684"/>
                <a:gd name="connsiteX19" fmla="*/ 908409 w 1050447"/>
                <a:gd name="connsiteY19" fmla="*/ 47842 h 202684"/>
                <a:gd name="connsiteX20" fmla="*/ 908409 w 1050447"/>
                <a:gd name="connsiteY20" fmla="*/ 66276 h 202684"/>
                <a:gd name="connsiteX21" fmla="*/ 886302 w 1050447"/>
                <a:gd name="connsiteY21" fmla="*/ 66276 h 202684"/>
                <a:gd name="connsiteX22" fmla="*/ 886302 w 1050447"/>
                <a:gd name="connsiteY22" fmla="*/ 91827 h 202684"/>
                <a:gd name="connsiteX23" fmla="*/ 908409 w 1050447"/>
                <a:gd name="connsiteY23" fmla="*/ 91827 h 202684"/>
                <a:gd name="connsiteX24" fmla="*/ 908409 w 1050447"/>
                <a:gd name="connsiteY24" fmla="*/ 199470 h 202684"/>
                <a:gd name="connsiteX25" fmla="*/ 940146 w 1050447"/>
                <a:gd name="connsiteY25" fmla="*/ 199470 h 202684"/>
                <a:gd name="connsiteX26" fmla="*/ 940146 w 1050447"/>
                <a:gd name="connsiteY26" fmla="*/ 91827 h 202684"/>
                <a:gd name="connsiteX27" fmla="*/ 987215 w 1050447"/>
                <a:gd name="connsiteY27" fmla="*/ 91827 h 202684"/>
                <a:gd name="connsiteX28" fmla="*/ 987215 w 1050447"/>
                <a:gd name="connsiteY28" fmla="*/ 160232 h 202684"/>
                <a:gd name="connsiteX29" fmla="*/ 1026737 w 1050447"/>
                <a:gd name="connsiteY29" fmla="*/ 202682 h 202684"/>
                <a:gd name="connsiteX30" fmla="*/ 1040209 w 1050447"/>
                <a:gd name="connsiteY30" fmla="*/ 201189 h 202684"/>
                <a:gd name="connsiteX31" fmla="*/ 1050026 w 1050447"/>
                <a:gd name="connsiteY31" fmla="*/ 198079 h 202684"/>
                <a:gd name="connsiteX32" fmla="*/ 1050448 w 1050447"/>
                <a:gd name="connsiteY32" fmla="*/ 197831 h 202684"/>
                <a:gd name="connsiteX33" fmla="*/ 1050448 w 1050447"/>
                <a:gd name="connsiteY33" fmla="*/ 172044 h 202684"/>
                <a:gd name="connsiteX34" fmla="*/ 1049154 w 1050447"/>
                <a:gd name="connsiteY34" fmla="*/ 172897 h 202684"/>
                <a:gd name="connsiteX35" fmla="*/ 1042769 w 1050447"/>
                <a:gd name="connsiteY35" fmla="*/ 175678 h 202684"/>
                <a:gd name="connsiteX36" fmla="*/ 1036497 w 1050447"/>
                <a:gd name="connsiteY36" fmla="*/ 176744 h 202684"/>
                <a:gd name="connsiteX37" fmla="*/ 1022996 w 1050447"/>
                <a:gd name="connsiteY37" fmla="*/ 171825 h 202684"/>
                <a:gd name="connsiteX38" fmla="*/ 1018693 w 1050447"/>
                <a:gd name="connsiteY38" fmla="*/ 154710 h 202684"/>
                <a:gd name="connsiteX39" fmla="*/ 1018693 w 1050447"/>
                <a:gd name="connsiteY39" fmla="*/ 91827 h 202684"/>
                <a:gd name="connsiteX40" fmla="*/ 1050448 w 1050447"/>
                <a:gd name="connsiteY40" fmla="*/ 91827 h 202684"/>
                <a:gd name="connsiteX41" fmla="*/ 815428 w 1050447"/>
                <a:gd name="connsiteY41" fmla="*/ 176748 h 202684"/>
                <a:gd name="connsiteX42" fmla="*/ 788426 w 1050447"/>
                <a:gd name="connsiteY42" fmla="*/ 165412 h 202684"/>
                <a:gd name="connsiteX43" fmla="*/ 778724 w 1050447"/>
                <a:gd name="connsiteY43" fmla="*/ 133391 h 202684"/>
                <a:gd name="connsiteX44" fmla="*/ 788429 w 1050447"/>
                <a:gd name="connsiteY44" fmla="*/ 100523 h 202684"/>
                <a:gd name="connsiteX45" fmla="*/ 815169 w 1050447"/>
                <a:gd name="connsiteY45" fmla="*/ 89005 h 202684"/>
                <a:gd name="connsiteX46" fmla="*/ 841209 w 1050447"/>
                <a:gd name="connsiteY46" fmla="*/ 100018 h 202684"/>
                <a:gd name="connsiteX47" fmla="*/ 850716 w 1050447"/>
                <a:gd name="connsiteY47" fmla="*/ 132619 h 202684"/>
                <a:gd name="connsiteX48" fmla="*/ 841771 w 1050447"/>
                <a:gd name="connsiteY48" fmla="*/ 165625 h 202684"/>
                <a:gd name="connsiteX49" fmla="*/ 815428 w 1050447"/>
                <a:gd name="connsiteY49" fmla="*/ 176748 h 202684"/>
                <a:gd name="connsiteX50" fmla="*/ 816839 w 1050447"/>
                <a:gd name="connsiteY50" fmla="*/ 63067 h 202684"/>
                <a:gd name="connsiteX51" fmla="*/ 764960 w 1050447"/>
                <a:gd name="connsiteY51" fmla="*/ 82196 h 202684"/>
                <a:gd name="connsiteX52" fmla="*/ 746217 w 1050447"/>
                <a:gd name="connsiteY52" fmla="*/ 134413 h 202684"/>
                <a:gd name="connsiteX53" fmla="*/ 764514 w 1050447"/>
                <a:gd name="connsiteY53" fmla="*/ 184262 h 202684"/>
                <a:gd name="connsiteX54" fmla="*/ 813625 w 1050447"/>
                <a:gd name="connsiteY54" fmla="*/ 202679 h 202684"/>
                <a:gd name="connsiteX55" fmla="*/ 864477 w 1050447"/>
                <a:gd name="connsiteY55" fmla="*/ 183285 h 202684"/>
                <a:gd name="connsiteX56" fmla="*/ 883218 w 1050447"/>
                <a:gd name="connsiteY56" fmla="*/ 131586 h 202684"/>
                <a:gd name="connsiteX57" fmla="*/ 865636 w 1050447"/>
                <a:gd name="connsiteY57" fmla="*/ 81368 h 202684"/>
                <a:gd name="connsiteX58" fmla="*/ 816839 w 1050447"/>
                <a:gd name="connsiteY58" fmla="*/ 63067 h 202684"/>
                <a:gd name="connsiteX59" fmla="*/ 695047 w 1050447"/>
                <a:gd name="connsiteY59" fmla="*/ 63067 h 202684"/>
                <a:gd name="connsiteX60" fmla="*/ 658286 w 1050447"/>
                <a:gd name="connsiteY60" fmla="*/ 74423 h 202684"/>
                <a:gd name="connsiteX61" fmla="*/ 643961 w 1050447"/>
                <a:gd name="connsiteY61" fmla="*/ 103973 h 202684"/>
                <a:gd name="connsiteX62" fmla="*/ 647049 w 1050447"/>
                <a:gd name="connsiteY62" fmla="*/ 120492 h 202684"/>
                <a:gd name="connsiteX63" fmla="*/ 656533 w 1050447"/>
                <a:gd name="connsiteY63" fmla="*/ 132872 h 202684"/>
                <a:gd name="connsiteX64" fmla="*/ 675824 w 1050447"/>
                <a:gd name="connsiteY64" fmla="*/ 143658 h 202684"/>
                <a:gd name="connsiteX65" fmla="*/ 691867 w 1050447"/>
                <a:gd name="connsiteY65" fmla="*/ 151126 h 202684"/>
                <a:gd name="connsiteX66" fmla="*/ 698931 w 1050447"/>
                <a:gd name="connsiteY66" fmla="*/ 156923 h 202684"/>
                <a:gd name="connsiteX67" fmla="*/ 700896 w 1050447"/>
                <a:gd name="connsiteY67" fmla="*/ 164473 h 202684"/>
                <a:gd name="connsiteX68" fmla="*/ 680393 w 1050447"/>
                <a:gd name="connsiteY68" fmla="*/ 177775 h 202684"/>
                <a:gd name="connsiteX69" fmla="*/ 663043 w 1050447"/>
                <a:gd name="connsiteY69" fmla="*/ 174602 h 202684"/>
                <a:gd name="connsiteX70" fmla="*/ 645276 w 1050447"/>
                <a:gd name="connsiteY70" fmla="*/ 165599 h 202684"/>
                <a:gd name="connsiteX71" fmla="*/ 643958 w 1050447"/>
                <a:gd name="connsiteY71" fmla="*/ 164654 h 202684"/>
                <a:gd name="connsiteX72" fmla="*/ 643958 w 1050447"/>
                <a:gd name="connsiteY72" fmla="*/ 195191 h 202684"/>
                <a:gd name="connsiteX73" fmla="*/ 644442 w 1050447"/>
                <a:gd name="connsiteY73" fmla="*/ 195415 h 202684"/>
                <a:gd name="connsiteX74" fmla="*/ 661267 w 1050447"/>
                <a:gd name="connsiteY74" fmla="*/ 200609 h 202684"/>
                <a:gd name="connsiteX75" fmla="*/ 679236 w 1050447"/>
                <a:gd name="connsiteY75" fmla="*/ 202684 h 202684"/>
                <a:gd name="connsiteX76" fmla="*/ 718053 w 1050447"/>
                <a:gd name="connsiteY76" fmla="*/ 191265 h 202684"/>
                <a:gd name="connsiteX77" fmla="*/ 732508 w 1050447"/>
                <a:gd name="connsiteY77" fmla="*/ 161012 h 202684"/>
                <a:gd name="connsiteX78" fmla="*/ 724732 w 1050447"/>
                <a:gd name="connsiteY78" fmla="*/ 138126 h 202684"/>
                <a:gd name="connsiteX79" fmla="*/ 698314 w 1050447"/>
                <a:gd name="connsiteY79" fmla="*/ 121315 h 202684"/>
                <a:gd name="connsiteX80" fmla="*/ 679492 w 1050447"/>
                <a:gd name="connsiteY80" fmla="*/ 111536 h 202684"/>
                <a:gd name="connsiteX81" fmla="*/ 675696 w 1050447"/>
                <a:gd name="connsiteY81" fmla="*/ 101276 h 202684"/>
                <a:gd name="connsiteX82" fmla="*/ 680513 w 1050447"/>
                <a:gd name="connsiteY82" fmla="*/ 91786 h 202684"/>
                <a:gd name="connsiteX83" fmla="*/ 694019 w 1050447"/>
                <a:gd name="connsiteY83" fmla="*/ 87976 h 202684"/>
                <a:gd name="connsiteX84" fmla="*/ 710098 w 1050447"/>
                <a:gd name="connsiteY84" fmla="*/ 90447 h 202684"/>
                <a:gd name="connsiteX85" fmla="*/ 724139 w 1050447"/>
                <a:gd name="connsiteY85" fmla="*/ 96954 h 202684"/>
                <a:gd name="connsiteX86" fmla="*/ 725435 w 1050447"/>
                <a:gd name="connsiteY86" fmla="*/ 97840 h 202684"/>
                <a:gd name="connsiteX87" fmla="*/ 725435 w 1050447"/>
                <a:gd name="connsiteY87" fmla="*/ 68873 h 202684"/>
                <a:gd name="connsiteX88" fmla="*/ 724937 w 1050447"/>
                <a:gd name="connsiteY88" fmla="*/ 68660 h 202684"/>
                <a:gd name="connsiteX89" fmla="*/ 710680 w 1050447"/>
                <a:gd name="connsiteY89" fmla="*/ 64685 h 202684"/>
                <a:gd name="connsiteX90" fmla="*/ 695047 w 1050447"/>
                <a:gd name="connsiteY90" fmla="*/ 63067 h 202684"/>
                <a:gd name="connsiteX91" fmla="*/ 561225 w 1050447"/>
                <a:gd name="connsiteY91" fmla="*/ 176748 h 202684"/>
                <a:gd name="connsiteX92" fmla="*/ 534224 w 1050447"/>
                <a:gd name="connsiteY92" fmla="*/ 165412 h 202684"/>
                <a:gd name="connsiteX93" fmla="*/ 524526 w 1050447"/>
                <a:gd name="connsiteY93" fmla="*/ 133391 h 202684"/>
                <a:gd name="connsiteX94" fmla="*/ 534231 w 1050447"/>
                <a:gd name="connsiteY94" fmla="*/ 100523 h 202684"/>
                <a:gd name="connsiteX95" fmla="*/ 560970 w 1050447"/>
                <a:gd name="connsiteY95" fmla="*/ 89005 h 202684"/>
                <a:gd name="connsiteX96" fmla="*/ 587007 w 1050447"/>
                <a:gd name="connsiteY96" fmla="*/ 100018 h 202684"/>
                <a:gd name="connsiteX97" fmla="*/ 596514 w 1050447"/>
                <a:gd name="connsiteY97" fmla="*/ 132619 h 202684"/>
                <a:gd name="connsiteX98" fmla="*/ 587568 w 1050447"/>
                <a:gd name="connsiteY98" fmla="*/ 165625 h 202684"/>
                <a:gd name="connsiteX99" fmla="*/ 561225 w 1050447"/>
                <a:gd name="connsiteY99" fmla="*/ 176748 h 202684"/>
                <a:gd name="connsiteX100" fmla="*/ 562639 w 1050447"/>
                <a:gd name="connsiteY100" fmla="*/ 63067 h 202684"/>
                <a:gd name="connsiteX101" fmla="*/ 510761 w 1050447"/>
                <a:gd name="connsiteY101" fmla="*/ 82196 h 202684"/>
                <a:gd name="connsiteX102" fmla="*/ 492013 w 1050447"/>
                <a:gd name="connsiteY102" fmla="*/ 134413 h 202684"/>
                <a:gd name="connsiteX103" fmla="*/ 510315 w 1050447"/>
                <a:gd name="connsiteY103" fmla="*/ 184262 h 202684"/>
                <a:gd name="connsiteX104" fmla="*/ 559424 w 1050447"/>
                <a:gd name="connsiteY104" fmla="*/ 202679 h 202684"/>
                <a:gd name="connsiteX105" fmla="*/ 610277 w 1050447"/>
                <a:gd name="connsiteY105" fmla="*/ 183285 h 202684"/>
                <a:gd name="connsiteX106" fmla="*/ 629018 w 1050447"/>
                <a:gd name="connsiteY106" fmla="*/ 131586 h 202684"/>
                <a:gd name="connsiteX107" fmla="*/ 611432 w 1050447"/>
                <a:gd name="connsiteY107" fmla="*/ 81368 h 202684"/>
                <a:gd name="connsiteX108" fmla="*/ 562639 w 1050447"/>
                <a:gd name="connsiteY108" fmla="*/ 63067 h 202684"/>
                <a:gd name="connsiteX109" fmla="*/ 443838 w 1050447"/>
                <a:gd name="connsiteY109" fmla="*/ 89342 h 202684"/>
                <a:gd name="connsiteX110" fmla="*/ 443838 w 1050447"/>
                <a:gd name="connsiteY110" fmla="*/ 66276 h 202684"/>
                <a:gd name="connsiteX111" fmla="*/ 412488 w 1050447"/>
                <a:gd name="connsiteY111" fmla="*/ 66276 h 202684"/>
                <a:gd name="connsiteX112" fmla="*/ 412488 w 1050447"/>
                <a:gd name="connsiteY112" fmla="*/ 199467 h 202684"/>
                <a:gd name="connsiteX113" fmla="*/ 443838 w 1050447"/>
                <a:gd name="connsiteY113" fmla="*/ 199467 h 202684"/>
                <a:gd name="connsiteX114" fmla="*/ 443838 w 1050447"/>
                <a:gd name="connsiteY114" fmla="*/ 131335 h 202684"/>
                <a:gd name="connsiteX115" fmla="*/ 451653 w 1050447"/>
                <a:gd name="connsiteY115" fmla="*/ 103043 h 202684"/>
                <a:gd name="connsiteX116" fmla="*/ 471928 w 1050447"/>
                <a:gd name="connsiteY116" fmla="*/ 92340 h 202684"/>
                <a:gd name="connsiteX117" fmla="*/ 481355 w 1050447"/>
                <a:gd name="connsiteY117" fmla="*/ 93726 h 202684"/>
                <a:gd name="connsiteX118" fmla="*/ 488665 w 1050447"/>
                <a:gd name="connsiteY118" fmla="*/ 96680 h 202684"/>
                <a:gd name="connsiteX119" fmla="*/ 489982 w 1050447"/>
                <a:gd name="connsiteY119" fmla="*/ 97635 h 202684"/>
                <a:gd name="connsiteX120" fmla="*/ 489982 w 1050447"/>
                <a:gd name="connsiteY120" fmla="*/ 66048 h 202684"/>
                <a:gd name="connsiteX121" fmla="*/ 489475 w 1050447"/>
                <a:gd name="connsiteY121" fmla="*/ 65830 h 202684"/>
                <a:gd name="connsiteX122" fmla="*/ 477199 w 1050447"/>
                <a:gd name="connsiteY122" fmla="*/ 63965 h 202684"/>
                <a:gd name="connsiteX123" fmla="*/ 456232 w 1050447"/>
                <a:gd name="connsiteY123" fmla="*/ 71476 h 202684"/>
                <a:gd name="connsiteX124" fmla="*/ 444171 w 1050447"/>
                <a:gd name="connsiteY124" fmla="*/ 89342 h 202684"/>
                <a:gd name="connsiteX125" fmla="*/ 443838 w 1050447"/>
                <a:gd name="connsiteY125" fmla="*/ 89342 h 202684"/>
                <a:gd name="connsiteX126" fmla="*/ 356346 w 1050447"/>
                <a:gd name="connsiteY126" fmla="*/ 63067 h 202684"/>
                <a:gd name="connsiteX127" fmla="*/ 318223 w 1050447"/>
                <a:gd name="connsiteY127" fmla="*/ 72225 h 202684"/>
                <a:gd name="connsiteX128" fmla="*/ 293079 w 1050447"/>
                <a:gd name="connsiteY128" fmla="*/ 98065 h 202684"/>
                <a:gd name="connsiteX129" fmla="*/ 284442 w 1050447"/>
                <a:gd name="connsiteY129" fmla="*/ 136342 h 202684"/>
                <a:gd name="connsiteX130" fmla="*/ 292835 w 1050447"/>
                <a:gd name="connsiteY130" fmla="*/ 170654 h 202684"/>
                <a:gd name="connsiteX131" fmla="*/ 316295 w 1050447"/>
                <a:gd name="connsiteY131" fmla="*/ 194357 h 202684"/>
                <a:gd name="connsiteX132" fmla="*/ 350568 w 1050447"/>
                <a:gd name="connsiteY132" fmla="*/ 202683 h 202684"/>
                <a:gd name="connsiteX133" fmla="*/ 388386 w 1050447"/>
                <a:gd name="connsiteY133" fmla="*/ 193836 h 202684"/>
                <a:gd name="connsiteX134" fmla="*/ 388798 w 1050447"/>
                <a:gd name="connsiteY134" fmla="*/ 193600 h 202684"/>
                <a:gd name="connsiteX135" fmla="*/ 388798 w 1050447"/>
                <a:gd name="connsiteY135" fmla="*/ 164896 h 202684"/>
                <a:gd name="connsiteX136" fmla="*/ 387480 w 1050447"/>
                <a:gd name="connsiteY136" fmla="*/ 165857 h 202684"/>
                <a:gd name="connsiteX137" fmla="*/ 372143 w 1050447"/>
                <a:gd name="connsiteY137" fmla="*/ 173839 h 202684"/>
                <a:gd name="connsiteX138" fmla="*/ 357120 w 1050447"/>
                <a:gd name="connsiteY138" fmla="*/ 176748 h 202684"/>
                <a:gd name="connsiteX139" fmla="*/ 327776 w 1050447"/>
                <a:gd name="connsiteY139" fmla="*/ 165317 h 202684"/>
                <a:gd name="connsiteX140" fmla="*/ 316950 w 1050447"/>
                <a:gd name="connsiteY140" fmla="*/ 133643 h 202684"/>
                <a:gd name="connsiteX141" fmla="*/ 328234 w 1050447"/>
                <a:gd name="connsiteY141" fmla="*/ 101133 h 202684"/>
                <a:gd name="connsiteX142" fmla="*/ 357638 w 1050447"/>
                <a:gd name="connsiteY142" fmla="*/ 89005 h 202684"/>
                <a:gd name="connsiteX143" fmla="*/ 387483 w 1050447"/>
                <a:gd name="connsiteY143" fmla="*/ 99379 h 202684"/>
                <a:gd name="connsiteX144" fmla="*/ 388798 w 1050447"/>
                <a:gd name="connsiteY144" fmla="*/ 100333 h 202684"/>
                <a:gd name="connsiteX145" fmla="*/ 388798 w 1050447"/>
                <a:gd name="connsiteY145" fmla="*/ 70089 h 202684"/>
                <a:gd name="connsiteX146" fmla="*/ 388373 w 1050447"/>
                <a:gd name="connsiteY146" fmla="*/ 69850 h 202684"/>
                <a:gd name="connsiteX147" fmla="*/ 373870 w 1050447"/>
                <a:gd name="connsiteY147" fmla="*/ 64946 h 202684"/>
                <a:gd name="connsiteX148" fmla="*/ 356346 w 1050447"/>
                <a:gd name="connsiteY148" fmla="*/ 63067 h 202684"/>
                <a:gd name="connsiteX149" fmla="*/ 262851 w 1050447"/>
                <a:gd name="connsiteY149" fmla="*/ 66277 h 202684"/>
                <a:gd name="connsiteX150" fmla="*/ 231501 w 1050447"/>
                <a:gd name="connsiteY150" fmla="*/ 66277 h 202684"/>
                <a:gd name="connsiteX151" fmla="*/ 231501 w 1050447"/>
                <a:gd name="connsiteY151" fmla="*/ 199467 h 202684"/>
                <a:gd name="connsiteX152" fmla="*/ 262851 w 1050447"/>
                <a:gd name="connsiteY152" fmla="*/ 199467 h 202684"/>
                <a:gd name="connsiteX153" fmla="*/ 262851 w 1050447"/>
                <a:gd name="connsiteY153" fmla="*/ 66277 h 202684"/>
                <a:gd name="connsiteX154" fmla="*/ 247497 w 1050447"/>
                <a:gd name="connsiteY154" fmla="*/ 9537 h 202684"/>
                <a:gd name="connsiteX155" fmla="*/ 234139 w 1050447"/>
                <a:gd name="connsiteY155" fmla="*/ 14771 h 202684"/>
                <a:gd name="connsiteX156" fmla="*/ 228543 w 1050447"/>
                <a:gd name="connsiteY156" fmla="*/ 27835 h 202684"/>
                <a:gd name="connsiteX157" fmla="*/ 234082 w 1050447"/>
                <a:gd name="connsiteY157" fmla="*/ 40645 h 202684"/>
                <a:gd name="connsiteX158" fmla="*/ 247498 w 1050447"/>
                <a:gd name="connsiteY158" fmla="*/ 45746 h 202684"/>
                <a:gd name="connsiteX159" fmla="*/ 260974 w 1050447"/>
                <a:gd name="connsiteY159" fmla="*/ 40650 h 202684"/>
                <a:gd name="connsiteX160" fmla="*/ 266582 w 1050447"/>
                <a:gd name="connsiteY160" fmla="*/ 27835 h 202684"/>
                <a:gd name="connsiteX161" fmla="*/ 261127 w 1050447"/>
                <a:gd name="connsiteY161" fmla="*/ 14912 h 202684"/>
                <a:gd name="connsiteX162" fmla="*/ 247497 w 1050447"/>
                <a:gd name="connsiteY162" fmla="*/ 9537 h 202684"/>
                <a:gd name="connsiteX163" fmla="*/ 169276 w 1050447"/>
                <a:gd name="connsiteY163" fmla="*/ 56450 h 202684"/>
                <a:gd name="connsiteX164" fmla="*/ 169276 w 1050447"/>
                <a:gd name="connsiteY164" fmla="*/ 199467 h 202684"/>
                <a:gd name="connsiteX165" fmla="*/ 201270 w 1050447"/>
                <a:gd name="connsiteY165" fmla="*/ 199467 h 202684"/>
                <a:gd name="connsiteX166" fmla="*/ 201270 w 1050447"/>
                <a:gd name="connsiteY166" fmla="*/ 13615 h 202684"/>
                <a:gd name="connsiteX167" fmla="*/ 156989 w 1050447"/>
                <a:gd name="connsiteY167" fmla="*/ 13615 h 202684"/>
                <a:gd name="connsiteX168" fmla="*/ 100705 w 1050447"/>
                <a:gd name="connsiteY168" fmla="*/ 151661 h 202684"/>
                <a:gd name="connsiteX169" fmla="*/ 46084 w 1050447"/>
                <a:gd name="connsiteY169" fmla="*/ 13615 h 202684"/>
                <a:gd name="connsiteX170" fmla="*/ 0 w 1050447"/>
                <a:gd name="connsiteY170" fmla="*/ 13615 h 202684"/>
                <a:gd name="connsiteX171" fmla="*/ 0 w 1050447"/>
                <a:gd name="connsiteY171" fmla="*/ 199466 h 202684"/>
                <a:gd name="connsiteX172" fmla="*/ 30066 w 1050447"/>
                <a:gd name="connsiteY172" fmla="*/ 199466 h 202684"/>
                <a:gd name="connsiteX173" fmla="*/ 30066 w 1050447"/>
                <a:gd name="connsiteY173" fmla="*/ 56436 h 202684"/>
                <a:gd name="connsiteX174" fmla="*/ 31098 w 1050447"/>
                <a:gd name="connsiteY174" fmla="*/ 56436 h 202684"/>
                <a:gd name="connsiteX175" fmla="*/ 88776 w 1050447"/>
                <a:gd name="connsiteY175" fmla="*/ 199467 h 202684"/>
                <a:gd name="connsiteX176" fmla="*/ 111466 w 1050447"/>
                <a:gd name="connsiteY176" fmla="*/ 199467 h 202684"/>
                <a:gd name="connsiteX177" fmla="*/ 168244 w 1050447"/>
                <a:gd name="connsiteY177" fmla="*/ 56450 h 202684"/>
                <a:gd name="connsiteX178" fmla="*/ 169276 w 1050447"/>
                <a:gd name="connsiteY178" fmla="*/ 56450 h 20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050447" h="202684">
                  <a:moveTo>
                    <a:pt x="1050448" y="91827"/>
                  </a:moveTo>
                  <a:lnTo>
                    <a:pt x="1050448" y="66276"/>
                  </a:lnTo>
                  <a:lnTo>
                    <a:pt x="1018693" y="66276"/>
                  </a:lnTo>
                  <a:lnTo>
                    <a:pt x="1018693" y="26553"/>
                  </a:lnTo>
                  <a:lnTo>
                    <a:pt x="1017624" y="26882"/>
                  </a:lnTo>
                  <a:lnTo>
                    <a:pt x="987802" y="36001"/>
                  </a:lnTo>
                  <a:lnTo>
                    <a:pt x="987215" y="36179"/>
                  </a:lnTo>
                  <a:lnTo>
                    <a:pt x="987215" y="66277"/>
                  </a:lnTo>
                  <a:lnTo>
                    <a:pt x="940146" y="66277"/>
                  </a:lnTo>
                  <a:lnTo>
                    <a:pt x="940146" y="49510"/>
                  </a:lnTo>
                  <a:cubicBezTo>
                    <a:pt x="940146" y="41703"/>
                    <a:pt x="941893" y="35728"/>
                    <a:pt x="945335" y="31744"/>
                  </a:cubicBezTo>
                  <a:cubicBezTo>
                    <a:pt x="948754" y="27807"/>
                    <a:pt x="953644" y="25806"/>
                    <a:pt x="959881" y="25806"/>
                  </a:cubicBezTo>
                  <a:cubicBezTo>
                    <a:pt x="964364" y="25806"/>
                    <a:pt x="969007" y="26861"/>
                    <a:pt x="973679" y="28943"/>
                  </a:cubicBezTo>
                  <a:lnTo>
                    <a:pt x="974850" y="29466"/>
                  </a:lnTo>
                  <a:lnTo>
                    <a:pt x="974850" y="2557"/>
                  </a:lnTo>
                  <a:lnTo>
                    <a:pt x="974299" y="2354"/>
                  </a:lnTo>
                  <a:cubicBezTo>
                    <a:pt x="969941" y="788"/>
                    <a:pt x="964013" y="0"/>
                    <a:pt x="956665" y="0"/>
                  </a:cubicBezTo>
                  <a:cubicBezTo>
                    <a:pt x="947404" y="0"/>
                    <a:pt x="938990" y="2014"/>
                    <a:pt x="931652" y="6006"/>
                  </a:cubicBezTo>
                  <a:cubicBezTo>
                    <a:pt x="924309" y="10003"/>
                    <a:pt x="918533" y="15709"/>
                    <a:pt x="914487" y="22964"/>
                  </a:cubicBezTo>
                  <a:cubicBezTo>
                    <a:pt x="910455" y="30210"/>
                    <a:pt x="908409" y="38580"/>
                    <a:pt x="908409" y="47842"/>
                  </a:cubicBezTo>
                  <a:lnTo>
                    <a:pt x="908409" y="66276"/>
                  </a:lnTo>
                  <a:lnTo>
                    <a:pt x="886302" y="66276"/>
                  </a:lnTo>
                  <a:lnTo>
                    <a:pt x="886302" y="91827"/>
                  </a:lnTo>
                  <a:lnTo>
                    <a:pt x="908409" y="91827"/>
                  </a:lnTo>
                  <a:lnTo>
                    <a:pt x="908409" y="199470"/>
                  </a:lnTo>
                  <a:lnTo>
                    <a:pt x="940146" y="199470"/>
                  </a:lnTo>
                  <a:lnTo>
                    <a:pt x="940146" y="91827"/>
                  </a:lnTo>
                  <a:lnTo>
                    <a:pt x="987215" y="91827"/>
                  </a:lnTo>
                  <a:lnTo>
                    <a:pt x="987215" y="160232"/>
                  </a:lnTo>
                  <a:cubicBezTo>
                    <a:pt x="987215" y="188405"/>
                    <a:pt x="1000511" y="202682"/>
                    <a:pt x="1026737" y="202682"/>
                  </a:cubicBezTo>
                  <a:cubicBezTo>
                    <a:pt x="1031040" y="202682"/>
                    <a:pt x="1035583" y="202177"/>
                    <a:pt x="1040209" y="201189"/>
                  </a:cubicBezTo>
                  <a:cubicBezTo>
                    <a:pt x="1044921" y="200174"/>
                    <a:pt x="1048141" y="199161"/>
                    <a:pt x="1050026" y="198079"/>
                  </a:cubicBezTo>
                  <a:lnTo>
                    <a:pt x="1050448" y="197831"/>
                  </a:lnTo>
                  <a:lnTo>
                    <a:pt x="1050448" y="172044"/>
                  </a:lnTo>
                  <a:lnTo>
                    <a:pt x="1049154" y="172897"/>
                  </a:lnTo>
                  <a:cubicBezTo>
                    <a:pt x="1047424" y="174044"/>
                    <a:pt x="1045286" y="174981"/>
                    <a:pt x="1042769" y="175678"/>
                  </a:cubicBezTo>
                  <a:cubicBezTo>
                    <a:pt x="1040238" y="176388"/>
                    <a:pt x="1038128" y="176744"/>
                    <a:pt x="1036497" y="176744"/>
                  </a:cubicBezTo>
                  <a:cubicBezTo>
                    <a:pt x="1030365" y="176744"/>
                    <a:pt x="1025809" y="175090"/>
                    <a:pt x="1022996" y="171825"/>
                  </a:cubicBezTo>
                  <a:cubicBezTo>
                    <a:pt x="1020141" y="168530"/>
                    <a:pt x="1018693" y="162769"/>
                    <a:pt x="1018693" y="154710"/>
                  </a:cubicBezTo>
                  <a:lnTo>
                    <a:pt x="1018693" y="91827"/>
                  </a:lnTo>
                  <a:lnTo>
                    <a:pt x="1050448" y="91827"/>
                  </a:lnTo>
                  <a:close/>
                  <a:moveTo>
                    <a:pt x="815428" y="176748"/>
                  </a:moveTo>
                  <a:cubicBezTo>
                    <a:pt x="803909" y="176748"/>
                    <a:pt x="794827" y="172931"/>
                    <a:pt x="788426" y="165412"/>
                  </a:cubicBezTo>
                  <a:cubicBezTo>
                    <a:pt x="781987" y="157854"/>
                    <a:pt x="778724" y="147080"/>
                    <a:pt x="778724" y="133391"/>
                  </a:cubicBezTo>
                  <a:cubicBezTo>
                    <a:pt x="778724" y="119267"/>
                    <a:pt x="781987" y="108214"/>
                    <a:pt x="788429" y="100523"/>
                  </a:cubicBezTo>
                  <a:cubicBezTo>
                    <a:pt x="794834" y="92883"/>
                    <a:pt x="803829" y="89005"/>
                    <a:pt x="815169" y="89005"/>
                  </a:cubicBezTo>
                  <a:cubicBezTo>
                    <a:pt x="826174" y="89005"/>
                    <a:pt x="834934" y="92708"/>
                    <a:pt x="841209" y="100018"/>
                  </a:cubicBezTo>
                  <a:cubicBezTo>
                    <a:pt x="847515" y="107366"/>
                    <a:pt x="850716" y="118331"/>
                    <a:pt x="850716" y="132619"/>
                  </a:cubicBezTo>
                  <a:cubicBezTo>
                    <a:pt x="850716" y="147083"/>
                    <a:pt x="847706" y="158193"/>
                    <a:pt x="841771" y="165625"/>
                  </a:cubicBezTo>
                  <a:cubicBezTo>
                    <a:pt x="835878" y="173001"/>
                    <a:pt x="827015" y="176748"/>
                    <a:pt x="815428" y="176748"/>
                  </a:cubicBezTo>
                  <a:moveTo>
                    <a:pt x="816839" y="63067"/>
                  </a:moveTo>
                  <a:cubicBezTo>
                    <a:pt x="794862" y="63067"/>
                    <a:pt x="777406" y="69503"/>
                    <a:pt x="764960" y="82196"/>
                  </a:cubicBezTo>
                  <a:cubicBezTo>
                    <a:pt x="752523" y="94890"/>
                    <a:pt x="746217" y="112457"/>
                    <a:pt x="746217" y="134413"/>
                  </a:cubicBezTo>
                  <a:cubicBezTo>
                    <a:pt x="746217" y="155267"/>
                    <a:pt x="752372" y="172041"/>
                    <a:pt x="764514" y="184262"/>
                  </a:cubicBezTo>
                  <a:cubicBezTo>
                    <a:pt x="776657" y="196486"/>
                    <a:pt x="793181" y="202679"/>
                    <a:pt x="813625" y="202679"/>
                  </a:cubicBezTo>
                  <a:cubicBezTo>
                    <a:pt x="834928" y="202679"/>
                    <a:pt x="852036" y="196153"/>
                    <a:pt x="864477" y="183285"/>
                  </a:cubicBezTo>
                  <a:cubicBezTo>
                    <a:pt x="876916" y="170430"/>
                    <a:pt x="883218" y="153029"/>
                    <a:pt x="883218" y="131586"/>
                  </a:cubicBezTo>
                  <a:cubicBezTo>
                    <a:pt x="883218" y="110406"/>
                    <a:pt x="877304" y="93507"/>
                    <a:pt x="865636" y="81368"/>
                  </a:cubicBezTo>
                  <a:cubicBezTo>
                    <a:pt x="853962" y="69223"/>
                    <a:pt x="837541" y="63067"/>
                    <a:pt x="816839" y="63067"/>
                  </a:cubicBezTo>
                  <a:moveTo>
                    <a:pt x="695047" y="63067"/>
                  </a:moveTo>
                  <a:cubicBezTo>
                    <a:pt x="680098" y="63067"/>
                    <a:pt x="667732" y="66889"/>
                    <a:pt x="658286" y="74423"/>
                  </a:cubicBezTo>
                  <a:cubicBezTo>
                    <a:pt x="648782" y="82003"/>
                    <a:pt x="643961" y="91944"/>
                    <a:pt x="643961" y="103973"/>
                  </a:cubicBezTo>
                  <a:cubicBezTo>
                    <a:pt x="643961" y="110226"/>
                    <a:pt x="645001" y="115781"/>
                    <a:pt x="647049" y="120492"/>
                  </a:cubicBezTo>
                  <a:cubicBezTo>
                    <a:pt x="649109" y="125218"/>
                    <a:pt x="652297" y="129380"/>
                    <a:pt x="656533" y="132872"/>
                  </a:cubicBezTo>
                  <a:cubicBezTo>
                    <a:pt x="660737" y="136337"/>
                    <a:pt x="667226" y="139966"/>
                    <a:pt x="675824" y="143658"/>
                  </a:cubicBezTo>
                  <a:cubicBezTo>
                    <a:pt x="683053" y="146630"/>
                    <a:pt x="688443" y="149145"/>
                    <a:pt x="691867" y="151126"/>
                  </a:cubicBezTo>
                  <a:cubicBezTo>
                    <a:pt x="695215" y="153069"/>
                    <a:pt x="697590" y="155021"/>
                    <a:pt x="698931" y="156923"/>
                  </a:cubicBezTo>
                  <a:cubicBezTo>
                    <a:pt x="700235" y="158783"/>
                    <a:pt x="700896" y="161330"/>
                    <a:pt x="700896" y="164473"/>
                  </a:cubicBezTo>
                  <a:cubicBezTo>
                    <a:pt x="700896" y="173421"/>
                    <a:pt x="694191" y="177775"/>
                    <a:pt x="680393" y="177775"/>
                  </a:cubicBezTo>
                  <a:cubicBezTo>
                    <a:pt x="675275" y="177775"/>
                    <a:pt x="669438" y="176707"/>
                    <a:pt x="663043" y="174602"/>
                  </a:cubicBezTo>
                  <a:cubicBezTo>
                    <a:pt x="656694" y="172529"/>
                    <a:pt x="650701" y="169492"/>
                    <a:pt x="645276" y="165599"/>
                  </a:cubicBezTo>
                  <a:lnTo>
                    <a:pt x="643958" y="164654"/>
                  </a:lnTo>
                  <a:lnTo>
                    <a:pt x="643958" y="195191"/>
                  </a:lnTo>
                  <a:lnTo>
                    <a:pt x="644442" y="195415"/>
                  </a:lnTo>
                  <a:cubicBezTo>
                    <a:pt x="648932" y="197487"/>
                    <a:pt x="654594" y="199234"/>
                    <a:pt x="661267" y="200609"/>
                  </a:cubicBezTo>
                  <a:cubicBezTo>
                    <a:pt x="667927" y="201985"/>
                    <a:pt x="673979" y="202684"/>
                    <a:pt x="679236" y="202684"/>
                  </a:cubicBezTo>
                  <a:cubicBezTo>
                    <a:pt x="695458" y="202684"/>
                    <a:pt x="708521" y="198845"/>
                    <a:pt x="718053" y="191265"/>
                  </a:cubicBezTo>
                  <a:cubicBezTo>
                    <a:pt x="727646" y="183633"/>
                    <a:pt x="732508" y="173458"/>
                    <a:pt x="732508" y="161012"/>
                  </a:cubicBezTo>
                  <a:cubicBezTo>
                    <a:pt x="732508" y="152034"/>
                    <a:pt x="729891" y="144335"/>
                    <a:pt x="724732" y="138126"/>
                  </a:cubicBezTo>
                  <a:cubicBezTo>
                    <a:pt x="719609" y="131967"/>
                    <a:pt x="710717" y="126313"/>
                    <a:pt x="698314" y="121315"/>
                  </a:cubicBezTo>
                  <a:cubicBezTo>
                    <a:pt x="688433" y="117352"/>
                    <a:pt x="682103" y="114062"/>
                    <a:pt x="679492" y="111536"/>
                  </a:cubicBezTo>
                  <a:cubicBezTo>
                    <a:pt x="676974" y="109096"/>
                    <a:pt x="675696" y="105646"/>
                    <a:pt x="675696" y="101276"/>
                  </a:cubicBezTo>
                  <a:cubicBezTo>
                    <a:pt x="675696" y="97403"/>
                    <a:pt x="677274" y="94299"/>
                    <a:pt x="680513" y="91786"/>
                  </a:cubicBezTo>
                  <a:cubicBezTo>
                    <a:pt x="683777" y="89261"/>
                    <a:pt x="688321" y="87976"/>
                    <a:pt x="694019" y="87976"/>
                  </a:cubicBezTo>
                  <a:cubicBezTo>
                    <a:pt x="699307" y="87976"/>
                    <a:pt x="704717" y="88811"/>
                    <a:pt x="710098" y="90447"/>
                  </a:cubicBezTo>
                  <a:cubicBezTo>
                    <a:pt x="715474" y="92083"/>
                    <a:pt x="720197" y="94274"/>
                    <a:pt x="724139" y="96954"/>
                  </a:cubicBezTo>
                  <a:lnTo>
                    <a:pt x="725435" y="97840"/>
                  </a:lnTo>
                  <a:lnTo>
                    <a:pt x="725435" y="68873"/>
                  </a:lnTo>
                  <a:lnTo>
                    <a:pt x="724937" y="68660"/>
                  </a:lnTo>
                  <a:cubicBezTo>
                    <a:pt x="721301" y="67101"/>
                    <a:pt x="716505" y="65767"/>
                    <a:pt x="710680" y="64685"/>
                  </a:cubicBezTo>
                  <a:cubicBezTo>
                    <a:pt x="704882" y="63610"/>
                    <a:pt x="699622" y="63067"/>
                    <a:pt x="695047" y="63067"/>
                  </a:cubicBezTo>
                  <a:moveTo>
                    <a:pt x="561225" y="176748"/>
                  </a:moveTo>
                  <a:cubicBezTo>
                    <a:pt x="549708" y="176748"/>
                    <a:pt x="540623" y="172931"/>
                    <a:pt x="534224" y="165412"/>
                  </a:cubicBezTo>
                  <a:cubicBezTo>
                    <a:pt x="527783" y="157854"/>
                    <a:pt x="524526" y="147083"/>
                    <a:pt x="524526" y="133391"/>
                  </a:cubicBezTo>
                  <a:cubicBezTo>
                    <a:pt x="524526" y="119267"/>
                    <a:pt x="527788" y="108214"/>
                    <a:pt x="534231" y="100523"/>
                  </a:cubicBezTo>
                  <a:cubicBezTo>
                    <a:pt x="540630" y="92883"/>
                    <a:pt x="549624" y="89005"/>
                    <a:pt x="560970" y="89005"/>
                  </a:cubicBezTo>
                  <a:cubicBezTo>
                    <a:pt x="571970" y="89005"/>
                    <a:pt x="580730" y="92708"/>
                    <a:pt x="587007" y="100018"/>
                  </a:cubicBezTo>
                  <a:cubicBezTo>
                    <a:pt x="593314" y="107366"/>
                    <a:pt x="596514" y="118331"/>
                    <a:pt x="596514" y="132619"/>
                  </a:cubicBezTo>
                  <a:cubicBezTo>
                    <a:pt x="596514" y="147083"/>
                    <a:pt x="593503" y="158193"/>
                    <a:pt x="587568" y="165625"/>
                  </a:cubicBezTo>
                  <a:cubicBezTo>
                    <a:pt x="581674" y="173001"/>
                    <a:pt x="572816" y="176748"/>
                    <a:pt x="561225" y="176748"/>
                  </a:cubicBezTo>
                  <a:moveTo>
                    <a:pt x="562639" y="63067"/>
                  </a:moveTo>
                  <a:cubicBezTo>
                    <a:pt x="540657" y="63067"/>
                    <a:pt x="523200" y="69503"/>
                    <a:pt x="510761" y="82196"/>
                  </a:cubicBezTo>
                  <a:cubicBezTo>
                    <a:pt x="498323" y="94890"/>
                    <a:pt x="492013" y="112457"/>
                    <a:pt x="492013" y="134413"/>
                  </a:cubicBezTo>
                  <a:cubicBezTo>
                    <a:pt x="492013" y="155275"/>
                    <a:pt x="498173" y="172041"/>
                    <a:pt x="510315" y="184262"/>
                  </a:cubicBezTo>
                  <a:cubicBezTo>
                    <a:pt x="522458" y="196486"/>
                    <a:pt x="538981" y="202679"/>
                    <a:pt x="559424" y="202679"/>
                  </a:cubicBezTo>
                  <a:cubicBezTo>
                    <a:pt x="580725" y="202679"/>
                    <a:pt x="597837" y="196153"/>
                    <a:pt x="610277" y="183285"/>
                  </a:cubicBezTo>
                  <a:cubicBezTo>
                    <a:pt x="622714" y="170430"/>
                    <a:pt x="629018" y="153029"/>
                    <a:pt x="629018" y="131586"/>
                  </a:cubicBezTo>
                  <a:cubicBezTo>
                    <a:pt x="629018" y="110406"/>
                    <a:pt x="623103" y="93507"/>
                    <a:pt x="611432" y="81368"/>
                  </a:cubicBezTo>
                  <a:cubicBezTo>
                    <a:pt x="599755" y="69223"/>
                    <a:pt x="583338" y="63067"/>
                    <a:pt x="562639" y="63067"/>
                  </a:cubicBezTo>
                  <a:moveTo>
                    <a:pt x="443838" y="89342"/>
                  </a:moveTo>
                  <a:lnTo>
                    <a:pt x="443838" y="66276"/>
                  </a:lnTo>
                  <a:lnTo>
                    <a:pt x="412488" y="66276"/>
                  </a:lnTo>
                  <a:lnTo>
                    <a:pt x="412488" y="199467"/>
                  </a:lnTo>
                  <a:lnTo>
                    <a:pt x="443838" y="199467"/>
                  </a:lnTo>
                  <a:lnTo>
                    <a:pt x="443838" y="131335"/>
                  </a:lnTo>
                  <a:cubicBezTo>
                    <a:pt x="443838" y="119750"/>
                    <a:pt x="446466" y="110232"/>
                    <a:pt x="451653" y="103043"/>
                  </a:cubicBezTo>
                  <a:cubicBezTo>
                    <a:pt x="456773" y="95940"/>
                    <a:pt x="463597" y="92340"/>
                    <a:pt x="471928" y="92340"/>
                  </a:cubicBezTo>
                  <a:cubicBezTo>
                    <a:pt x="474752" y="92340"/>
                    <a:pt x="477922" y="92805"/>
                    <a:pt x="481355" y="93726"/>
                  </a:cubicBezTo>
                  <a:cubicBezTo>
                    <a:pt x="484752" y="94641"/>
                    <a:pt x="487213" y="95635"/>
                    <a:pt x="488665" y="96680"/>
                  </a:cubicBezTo>
                  <a:lnTo>
                    <a:pt x="489982" y="97635"/>
                  </a:lnTo>
                  <a:lnTo>
                    <a:pt x="489982" y="66048"/>
                  </a:lnTo>
                  <a:lnTo>
                    <a:pt x="489475" y="65830"/>
                  </a:lnTo>
                  <a:cubicBezTo>
                    <a:pt x="486555" y="64591"/>
                    <a:pt x="482425" y="63965"/>
                    <a:pt x="477199" y="63965"/>
                  </a:cubicBezTo>
                  <a:cubicBezTo>
                    <a:pt x="469321" y="63965"/>
                    <a:pt x="462271" y="66495"/>
                    <a:pt x="456232" y="71476"/>
                  </a:cubicBezTo>
                  <a:cubicBezTo>
                    <a:pt x="450931" y="75854"/>
                    <a:pt x="447101" y="81857"/>
                    <a:pt x="444171" y="89342"/>
                  </a:cubicBezTo>
                  <a:lnTo>
                    <a:pt x="443838" y="89342"/>
                  </a:lnTo>
                  <a:close/>
                  <a:moveTo>
                    <a:pt x="356346" y="63067"/>
                  </a:moveTo>
                  <a:cubicBezTo>
                    <a:pt x="341963" y="63067"/>
                    <a:pt x="329134" y="66149"/>
                    <a:pt x="318223" y="72225"/>
                  </a:cubicBezTo>
                  <a:cubicBezTo>
                    <a:pt x="307288" y="78315"/>
                    <a:pt x="298832" y="87009"/>
                    <a:pt x="293079" y="98065"/>
                  </a:cubicBezTo>
                  <a:cubicBezTo>
                    <a:pt x="287351" y="109093"/>
                    <a:pt x="284442" y="121976"/>
                    <a:pt x="284442" y="136342"/>
                  </a:cubicBezTo>
                  <a:cubicBezTo>
                    <a:pt x="284442" y="148927"/>
                    <a:pt x="287262" y="160476"/>
                    <a:pt x="292835" y="170654"/>
                  </a:cubicBezTo>
                  <a:cubicBezTo>
                    <a:pt x="298412" y="180849"/>
                    <a:pt x="306304" y="188825"/>
                    <a:pt x="316295" y="194357"/>
                  </a:cubicBezTo>
                  <a:cubicBezTo>
                    <a:pt x="326271" y="199882"/>
                    <a:pt x="337802" y="202683"/>
                    <a:pt x="350568" y="202683"/>
                  </a:cubicBezTo>
                  <a:cubicBezTo>
                    <a:pt x="365467" y="202683"/>
                    <a:pt x="378187" y="199706"/>
                    <a:pt x="388386" y="193836"/>
                  </a:cubicBezTo>
                  <a:lnTo>
                    <a:pt x="388798" y="193600"/>
                  </a:lnTo>
                  <a:lnTo>
                    <a:pt x="388798" y="164896"/>
                  </a:lnTo>
                  <a:lnTo>
                    <a:pt x="387480" y="165857"/>
                  </a:lnTo>
                  <a:cubicBezTo>
                    <a:pt x="382861" y="169220"/>
                    <a:pt x="377698" y="171905"/>
                    <a:pt x="372143" y="173839"/>
                  </a:cubicBezTo>
                  <a:cubicBezTo>
                    <a:pt x="366602" y="175771"/>
                    <a:pt x="361550" y="176748"/>
                    <a:pt x="357120" y="176748"/>
                  </a:cubicBezTo>
                  <a:cubicBezTo>
                    <a:pt x="344819" y="176748"/>
                    <a:pt x="334944" y="172901"/>
                    <a:pt x="327776" y="165317"/>
                  </a:cubicBezTo>
                  <a:cubicBezTo>
                    <a:pt x="320592" y="157724"/>
                    <a:pt x="316950" y="147060"/>
                    <a:pt x="316950" y="133643"/>
                  </a:cubicBezTo>
                  <a:cubicBezTo>
                    <a:pt x="316950" y="120140"/>
                    <a:pt x="320748" y="109203"/>
                    <a:pt x="328234" y="101133"/>
                  </a:cubicBezTo>
                  <a:cubicBezTo>
                    <a:pt x="335698" y="93087"/>
                    <a:pt x="345591" y="89005"/>
                    <a:pt x="357638" y="89005"/>
                  </a:cubicBezTo>
                  <a:cubicBezTo>
                    <a:pt x="367942" y="89005"/>
                    <a:pt x="377983" y="92492"/>
                    <a:pt x="387483" y="99379"/>
                  </a:cubicBezTo>
                  <a:lnTo>
                    <a:pt x="388798" y="100333"/>
                  </a:lnTo>
                  <a:lnTo>
                    <a:pt x="388798" y="70089"/>
                  </a:lnTo>
                  <a:lnTo>
                    <a:pt x="388373" y="69850"/>
                  </a:lnTo>
                  <a:cubicBezTo>
                    <a:pt x="384798" y="67850"/>
                    <a:pt x="379923" y="66199"/>
                    <a:pt x="373870" y="64946"/>
                  </a:cubicBezTo>
                  <a:cubicBezTo>
                    <a:pt x="367842" y="63697"/>
                    <a:pt x="361947" y="63067"/>
                    <a:pt x="356346" y="63067"/>
                  </a:cubicBezTo>
                  <a:moveTo>
                    <a:pt x="262851" y="66277"/>
                  </a:moveTo>
                  <a:lnTo>
                    <a:pt x="231501" y="66277"/>
                  </a:lnTo>
                  <a:lnTo>
                    <a:pt x="231501" y="199467"/>
                  </a:lnTo>
                  <a:lnTo>
                    <a:pt x="262851" y="199467"/>
                  </a:lnTo>
                  <a:lnTo>
                    <a:pt x="262851" y="66277"/>
                  </a:lnTo>
                  <a:close/>
                  <a:moveTo>
                    <a:pt x="247497" y="9537"/>
                  </a:moveTo>
                  <a:cubicBezTo>
                    <a:pt x="242337" y="9537"/>
                    <a:pt x="237837" y="11293"/>
                    <a:pt x="234139" y="14771"/>
                  </a:cubicBezTo>
                  <a:cubicBezTo>
                    <a:pt x="230427" y="18260"/>
                    <a:pt x="228543" y="22652"/>
                    <a:pt x="228543" y="27835"/>
                  </a:cubicBezTo>
                  <a:cubicBezTo>
                    <a:pt x="228543" y="32937"/>
                    <a:pt x="230404" y="37249"/>
                    <a:pt x="234082" y="40645"/>
                  </a:cubicBezTo>
                  <a:cubicBezTo>
                    <a:pt x="237735" y="44030"/>
                    <a:pt x="242250" y="45746"/>
                    <a:pt x="247498" y="45746"/>
                  </a:cubicBezTo>
                  <a:cubicBezTo>
                    <a:pt x="252745" y="45746"/>
                    <a:pt x="257276" y="44030"/>
                    <a:pt x="260974" y="40650"/>
                  </a:cubicBezTo>
                  <a:cubicBezTo>
                    <a:pt x="264695" y="37249"/>
                    <a:pt x="266582" y="32938"/>
                    <a:pt x="266582" y="27835"/>
                  </a:cubicBezTo>
                  <a:cubicBezTo>
                    <a:pt x="266582" y="22833"/>
                    <a:pt x="264745" y="18486"/>
                    <a:pt x="261127" y="14912"/>
                  </a:cubicBezTo>
                  <a:cubicBezTo>
                    <a:pt x="257511" y="11345"/>
                    <a:pt x="252924" y="9537"/>
                    <a:pt x="247497" y="9537"/>
                  </a:cubicBezTo>
                  <a:moveTo>
                    <a:pt x="169276" y="56450"/>
                  </a:moveTo>
                  <a:lnTo>
                    <a:pt x="169276" y="199467"/>
                  </a:lnTo>
                  <a:lnTo>
                    <a:pt x="201270" y="199467"/>
                  </a:lnTo>
                  <a:lnTo>
                    <a:pt x="201270" y="13615"/>
                  </a:lnTo>
                  <a:lnTo>
                    <a:pt x="156989" y="13615"/>
                  </a:lnTo>
                  <a:lnTo>
                    <a:pt x="100705" y="151661"/>
                  </a:lnTo>
                  <a:lnTo>
                    <a:pt x="46084" y="13615"/>
                  </a:lnTo>
                  <a:lnTo>
                    <a:pt x="0" y="13615"/>
                  </a:lnTo>
                  <a:lnTo>
                    <a:pt x="0" y="199466"/>
                  </a:lnTo>
                  <a:lnTo>
                    <a:pt x="30066" y="199466"/>
                  </a:lnTo>
                  <a:lnTo>
                    <a:pt x="30066" y="56436"/>
                  </a:lnTo>
                  <a:lnTo>
                    <a:pt x="31098" y="56436"/>
                  </a:lnTo>
                  <a:lnTo>
                    <a:pt x="88776" y="199467"/>
                  </a:lnTo>
                  <a:lnTo>
                    <a:pt x="111466" y="199467"/>
                  </a:lnTo>
                  <a:lnTo>
                    <a:pt x="168244" y="56450"/>
                  </a:lnTo>
                  <a:lnTo>
                    <a:pt x="169276" y="56450"/>
                  </a:lnTo>
                  <a:close/>
                </a:path>
              </a:pathLst>
            </a:custGeom>
            <a:solidFill>
              <a:schemeClr val="bg1"/>
            </a:solidFill>
            <a:ln w="1400"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8BB535C1-6153-4610-909A-68BC68DCC07F}"/>
                </a:ext>
              </a:extLst>
            </p:cNvPr>
            <p:cNvSpPr/>
            <p:nvPr/>
          </p:nvSpPr>
          <p:spPr>
            <a:xfrm>
              <a:off x="419101" y="419787"/>
              <a:ext cx="147479" cy="147387"/>
            </a:xfrm>
            <a:custGeom>
              <a:avLst/>
              <a:gdLst>
                <a:gd name="connsiteX0" fmla="*/ 147480 w 147479"/>
                <a:gd name="connsiteY0" fmla="*/ 147388 h 147387"/>
                <a:gd name="connsiteX1" fmla="*/ 0 w 147479"/>
                <a:gd name="connsiteY1" fmla="*/ 147388 h 147387"/>
                <a:gd name="connsiteX2" fmla="*/ 0 w 147479"/>
                <a:gd name="connsiteY2" fmla="*/ 0 h 147387"/>
                <a:gd name="connsiteX3" fmla="*/ 147480 w 147479"/>
                <a:gd name="connsiteY3" fmla="*/ 0 h 147387"/>
                <a:gd name="connsiteX4" fmla="*/ 147480 w 147479"/>
                <a:gd name="connsiteY4" fmla="*/ 147388 h 14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9" h="147387">
                  <a:moveTo>
                    <a:pt x="147480" y="147388"/>
                  </a:moveTo>
                  <a:lnTo>
                    <a:pt x="0" y="147388"/>
                  </a:lnTo>
                  <a:lnTo>
                    <a:pt x="0" y="0"/>
                  </a:lnTo>
                  <a:lnTo>
                    <a:pt x="147480" y="0"/>
                  </a:lnTo>
                  <a:lnTo>
                    <a:pt x="147480" y="147388"/>
                  </a:lnTo>
                  <a:close/>
                </a:path>
              </a:pathLst>
            </a:custGeom>
            <a:solidFill>
              <a:srgbClr val="F1511B"/>
            </a:solidFill>
            <a:ln w="1400"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5181F55-E1DD-4E40-8A3D-1142F7AAA1CC}"/>
                </a:ext>
              </a:extLst>
            </p:cNvPr>
            <p:cNvSpPr/>
            <p:nvPr/>
          </p:nvSpPr>
          <p:spPr>
            <a:xfrm>
              <a:off x="581937" y="419787"/>
              <a:ext cx="147476" cy="147387"/>
            </a:xfrm>
            <a:custGeom>
              <a:avLst/>
              <a:gdLst>
                <a:gd name="connsiteX0" fmla="*/ 147477 w 147476"/>
                <a:gd name="connsiteY0" fmla="*/ 147388 h 147387"/>
                <a:gd name="connsiteX1" fmla="*/ 0 w 147476"/>
                <a:gd name="connsiteY1" fmla="*/ 147388 h 147387"/>
                <a:gd name="connsiteX2" fmla="*/ 0 w 147476"/>
                <a:gd name="connsiteY2" fmla="*/ 0 h 147387"/>
                <a:gd name="connsiteX3" fmla="*/ 147477 w 147476"/>
                <a:gd name="connsiteY3" fmla="*/ 0 h 147387"/>
                <a:gd name="connsiteX4" fmla="*/ 147477 w 147476"/>
                <a:gd name="connsiteY4" fmla="*/ 147388 h 14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6" h="147387">
                  <a:moveTo>
                    <a:pt x="147477" y="147388"/>
                  </a:moveTo>
                  <a:lnTo>
                    <a:pt x="0" y="147388"/>
                  </a:lnTo>
                  <a:lnTo>
                    <a:pt x="0" y="0"/>
                  </a:lnTo>
                  <a:lnTo>
                    <a:pt x="147477" y="0"/>
                  </a:lnTo>
                  <a:lnTo>
                    <a:pt x="147477" y="147388"/>
                  </a:lnTo>
                  <a:close/>
                </a:path>
              </a:pathLst>
            </a:custGeom>
            <a:solidFill>
              <a:srgbClr val="80CC28"/>
            </a:solidFill>
            <a:ln w="1400"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601BD9AE-7DE2-46EE-9D2B-DB1490A3E242}"/>
                </a:ext>
              </a:extLst>
            </p:cNvPr>
            <p:cNvSpPr/>
            <p:nvPr/>
          </p:nvSpPr>
          <p:spPr>
            <a:xfrm>
              <a:off x="419101" y="582578"/>
              <a:ext cx="147475" cy="147386"/>
            </a:xfrm>
            <a:custGeom>
              <a:avLst/>
              <a:gdLst>
                <a:gd name="connsiteX0" fmla="*/ 147475 w 147475"/>
                <a:gd name="connsiteY0" fmla="*/ 147387 h 147386"/>
                <a:gd name="connsiteX1" fmla="*/ 0 w 147475"/>
                <a:gd name="connsiteY1" fmla="*/ 147387 h 147386"/>
                <a:gd name="connsiteX2" fmla="*/ 0 w 147475"/>
                <a:gd name="connsiteY2" fmla="*/ 0 h 147386"/>
                <a:gd name="connsiteX3" fmla="*/ 147475 w 147475"/>
                <a:gd name="connsiteY3" fmla="*/ 0 h 147386"/>
                <a:gd name="connsiteX4" fmla="*/ 147475 w 147475"/>
                <a:gd name="connsiteY4" fmla="*/ 147387 h 14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5" h="147386">
                  <a:moveTo>
                    <a:pt x="147475" y="147387"/>
                  </a:moveTo>
                  <a:lnTo>
                    <a:pt x="0" y="147387"/>
                  </a:lnTo>
                  <a:lnTo>
                    <a:pt x="0" y="0"/>
                  </a:lnTo>
                  <a:lnTo>
                    <a:pt x="147475" y="0"/>
                  </a:lnTo>
                  <a:lnTo>
                    <a:pt x="147475" y="147387"/>
                  </a:lnTo>
                  <a:close/>
                </a:path>
              </a:pathLst>
            </a:custGeom>
            <a:solidFill>
              <a:srgbClr val="00ADEF"/>
            </a:solidFill>
            <a:ln w="14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F52E212-369A-4837-A08A-889901C34DC8}"/>
                </a:ext>
              </a:extLst>
            </p:cNvPr>
            <p:cNvSpPr/>
            <p:nvPr/>
          </p:nvSpPr>
          <p:spPr>
            <a:xfrm>
              <a:off x="581937" y="582578"/>
              <a:ext cx="147476" cy="147386"/>
            </a:xfrm>
            <a:custGeom>
              <a:avLst/>
              <a:gdLst>
                <a:gd name="connsiteX0" fmla="*/ 147477 w 147476"/>
                <a:gd name="connsiteY0" fmla="*/ 147387 h 147386"/>
                <a:gd name="connsiteX1" fmla="*/ 0 w 147476"/>
                <a:gd name="connsiteY1" fmla="*/ 147387 h 147386"/>
                <a:gd name="connsiteX2" fmla="*/ 0 w 147476"/>
                <a:gd name="connsiteY2" fmla="*/ 0 h 147386"/>
                <a:gd name="connsiteX3" fmla="*/ 147477 w 147476"/>
                <a:gd name="connsiteY3" fmla="*/ 0 h 147386"/>
                <a:gd name="connsiteX4" fmla="*/ 147477 w 147476"/>
                <a:gd name="connsiteY4" fmla="*/ 147387 h 14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6" h="147386">
                  <a:moveTo>
                    <a:pt x="147477" y="147387"/>
                  </a:moveTo>
                  <a:lnTo>
                    <a:pt x="0" y="147387"/>
                  </a:lnTo>
                  <a:lnTo>
                    <a:pt x="0" y="0"/>
                  </a:lnTo>
                  <a:lnTo>
                    <a:pt x="147477" y="0"/>
                  </a:lnTo>
                  <a:lnTo>
                    <a:pt x="147477" y="147387"/>
                  </a:lnTo>
                  <a:close/>
                </a:path>
              </a:pathLst>
            </a:custGeom>
            <a:solidFill>
              <a:srgbClr val="FBBC09"/>
            </a:solidFill>
            <a:ln w="1400" cap="flat">
              <a:noFill/>
              <a:prstDash val="solid"/>
              <a:miter/>
            </a:ln>
          </p:spPr>
          <p:txBody>
            <a:bodyPr rtlCol="0" anchor="ctr"/>
            <a:lstStyle/>
            <a:p>
              <a:endParaRPr lang="en-US"/>
            </a:p>
          </p:txBody>
        </p:sp>
      </p:grpSp>
    </p:spTree>
    <p:extLst>
      <p:ext uri="{BB962C8B-B14F-4D97-AF65-F5344CB8AC3E}">
        <p14:creationId xmlns:p14="http://schemas.microsoft.com/office/powerpoint/2010/main" val="108663369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A2E5142-58C3-466C-8712-90A4ABB7E20E}"/>
              </a:ext>
            </a:extLst>
          </p:cNvPr>
          <p:cNvSpPr/>
          <p:nvPr/>
        </p:nvSpPr>
        <p:spPr bwMode="auto">
          <a:xfrm>
            <a:off x="0" y="0"/>
            <a:ext cx="12192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AD2DD0AC-B61D-482B-AA38-DDEFCC70FAEC}"/>
              </a:ext>
            </a:extLst>
          </p:cNvPr>
          <p:cNvSpPr/>
          <p:nvPr/>
        </p:nvSpPr>
        <p:spPr bwMode="auto">
          <a:xfrm>
            <a:off x="419100" y="444500"/>
            <a:ext cx="11353800" cy="5969000"/>
          </a:xfrm>
          <a:prstGeom prst="roundRect">
            <a:avLst>
              <a:gd name="adj" fmla="val 625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2" name="Graphic 11">
            <a:extLst>
              <a:ext uri="{FF2B5EF4-FFF2-40B4-BE49-F238E27FC236}">
                <a16:creationId xmlns:a16="http://schemas.microsoft.com/office/drawing/2014/main" id="{44C251EC-73C1-45A4-9F4F-8C5A9ED4F8F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4380" y="805633"/>
            <a:ext cx="1303020" cy="278326"/>
          </a:xfrm>
          <a:prstGeom prst="rect">
            <a:avLst/>
          </a:prstGeom>
        </p:spPr>
      </p:pic>
      <p:sp>
        <p:nvSpPr>
          <p:cNvPr id="14" name="object 33">
            <a:extLst>
              <a:ext uri="{FF2B5EF4-FFF2-40B4-BE49-F238E27FC236}">
                <a16:creationId xmlns:a16="http://schemas.microsoft.com/office/drawing/2014/main" id="{2AFD2A00-0110-4A41-A940-3F7F1D9A66B2}"/>
              </a:ext>
            </a:extLst>
          </p:cNvPr>
          <p:cNvSpPr txBox="1">
            <a:spLocks/>
          </p:cNvSpPr>
          <p:nvPr/>
        </p:nvSpPr>
        <p:spPr>
          <a:xfrm>
            <a:off x="4872567" y="6586451"/>
            <a:ext cx="2446867" cy="173124"/>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gn="ctr">
              <a:spcBef>
                <a:spcPts val="150"/>
              </a:spcBef>
            </a:pPr>
            <a:r>
              <a:rPr lang="en-US" sz="1000" kern="100">
                <a:solidFill>
                  <a:schemeClr val="tx1">
                    <a:lumMod val="50000"/>
                    <a:lumOff val="50000"/>
                  </a:schemeClr>
                </a:solidFill>
                <a:latin typeface="Segoe UI" panose="020B0502040204020203" pitchFamily="34" charset="0"/>
                <a:cs typeface="Segoe UI" panose="020B0502040204020203" pitchFamily="34" charset="0"/>
              </a:rPr>
              <a:t>Microsoft confidential.</a:t>
            </a:r>
          </a:p>
        </p:txBody>
      </p:sp>
      <p:sp>
        <p:nvSpPr>
          <p:cNvPr id="16" name="Text Placeholder 15">
            <a:extLst>
              <a:ext uri="{FF2B5EF4-FFF2-40B4-BE49-F238E27FC236}">
                <a16:creationId xmlns:a16="http://schemas.microsoft.com/office/drawing/2014/main" id="{6EAFB365-02C6-4297-8EF2-5B013F6D2EBD}"/>
              </a:ext>
            </a:extLst>
          </p:cNvPr>
          <p:cNvSpPr>
            <a:spLocks noGrp="1"/>
          </p:cNvSpPr>
          <p:nvPr>
            <p:ph type="body" sz="quarter" idx="10" hasCustomPrompt="1"/>
          </p:nvPr>
        </p:nvSpPr>
        <p:spPr>
          <a:xfrm>
            <a:off x="754063" y="2506532"/>
            <a:ext cx="5341937" cy="1584325"/>
          </a:xfrm>
        </p:spPr>
        <p:txBody>
          <a:bodyPr anchor="ctr"/>
          <a:lstStyle>
            <a:lvl1pPr>
              <a:defRPr sz="4400">
                <a:latin typeface="+mj-lt"/>
              </a:defRPr>
            </a:lvl1pPr>
          </a:lstStyle>
          <a:p>
            <a:pPr lvl="0"/>
            <a:r>
              <a:rPr lang="en-US"/>
              <a:t>Click to add text</a:t>
            </a:r>
          </a:p>
        </p:txBody>
      </p:sp>
      <p:grpSp>
        <p:nvGrpSpPr>
          <p:cNvPr id="4" name="Group 3">
            <a:extLst>
              <a:ext uri="{FF2B5EF4-FFF2-40B4-BE49-F238E27FC236}">
                <a16:creationId xmlns:a16="http://schemas.microsoft.com/office/drawing/2014/main" id="{BDB92E3D-13FE-4338-B3F6-3524B1D0956C}"/>
              </a:ext>
            </a:extLst>
          </p:cNvPr>
          <p:cNvGrpSpPr/>
          <p:nvPr/>
        </p:nvGrpSpPr>
        <p:grpSpPr>
          <a:xfrm>
            <a:off x="7732586" y="864277"/>
            <a:ext cx="3917891" cy="5741042"/>
            <a:chOff x="7732586" y="864277"/>
            <a:chExt cx="3917891" cy="5741042"/>
          </a:xfrm>
        </p:grpSpPr>
        <p:sp>
          <p:nvSpPr>
            <p:cNvPr id="15" name="Rectangle: Rounded Corners 14">
              <a:extLst>
                <a:ext uri="{FF2B5EF4-FFF2-40B4-BE49-F238E27FC236}">
                  <a16:creationId xmlns:a16="http://schemas.microsoft.com/office/drawing/2014/main" id="{81CDB933-DDC5-4675-A6B0-6ACDC4ADDDC3}"/>
                </a:ext>
              </a:extLst>
            </p:cNvPr>
            <p:cNvSpPr/>
            <p:nvPr/>
          </p:nvSpPr>
          <p:spPr bwMode="auto">
            <a:xfrm rot="8101561">
              <a:off x="7732586" y="2276892"/>
              <a:ext cx="1764602" cy="4202286"/>
            </a:xfrm>
            <a:prstGeom prst="roundRect">
              <a:avLst>
                <a:gd name="adj" fmla="val 50000"/>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nvGrpSpPr>
            <p:cNvPr id="3" name="Group 2">
              <a:extLst>
                <a:ext uri="{FF2B5EF4-FFF2-40B4-BE49-F238E27FC236}">
                  <a16:creationId xmlns:a16="http://schemas.microsoft.com/office/drawing/2014/main" id="{8DB29C06-2C53-40D2-8E3C-2457917D0F11}"/>
                </a:ext>
              </a:extLst>
            </p:cNvPr>
            <p:cNvGrpSpPr/>
            <p:nvPr/>
          </p:nvGrpSpPr>
          <p:grpSpPr>
            <a:xfrm>
              <a:off x="8102890" y="864277"/>
              <a:ext cx="3547587" cy="5741042"/>
              <a:chOff x="8102890" y="864277"/>
              <a:chExt cx="3547587" cy="5741042"/>
            </a:xfrm>
          </p:grpSpPr>
          <p:sp>
            <p:nvSpPr>
              <p:cNvPr id="20" name="Freeform: Shape 19">
                <a:extLst>
                  <a:ext uri="{FF2B5EF4-FFF2-40B4-BE49-F238E27FC236}">
                    <a16:creationId xmlns:a16="http://schemas.microsoft.com/office/drawing/2014/main" id="{6E1D9D07-F1B0-43E7-80FF-DDD6AB24D1F8}"/>
                  </a:ext>
                </a:extLst>
              </p:cNvPr>
              <p:cNvSpPr/>
              <p:nvPr/>
            </p:nvSpPr>
            <p:spPr bwMode="auto">
              <a:xfrm rot="2433989">
                <a:off x="9926917" y="864277"/>
                <a:ext cx="1723560" cy="5741042"/>
              </a:xfrm>
              <a:custGeom>
                <a:avLst/>
                <a:gdLst>
                  <a:gd name="connsiteX0" fmla="*/ 251654 w 1723560"/>
                  <a:gd name="connsiteY0" fmla="*/ 0 h 5741042"/>
                  <a:gd name="connsiteX1" fmla="*/ 1723560 w 1723560"/>
                  <a:gd name="connsiteY1" fmla="*/ 1719338 h 5741042"/>
                  <a:gd name="connsiteX2" fmla="*/ 1723559 w 1723560"/>
                  <a:gd name="connsiteY2" fmla="*/ 4879261 h 5741042"/>
                  <a:gd name="connsiteX3" fmla="*/ 861779 w 1723560"/>
                  <a:gd name="connsiteY3" fmla="*/ 5741042 h 5741042"/>
                  <a:gd name="connsiteX4" fmla="*/ 861780 w 1723560"/>
                  <a:gd name="connsiteY4" fmla="*/ 5741040 h 5741042"/>
                  <a:gd name="connsiteX5" fmla="*/ 0 w 1723560"/>
                  <a:gd name="connsiteY5" fmla="*/ 4879260 h 5741042"/>
                  <a:gd name="connsiteX6" fmla="*/ 0 w 1723560"/>
                  <a:gd name="connsiteY6" fmla="*/ 608539 h 5741042"/>
                  <a:gd name="connsiteX7" fmla="*/ 196788 w 1723560"/>
                  <a:gd name="connsiteY7" fmla="*/ 60367 h 5741042"/>
                  <a:gd name="connsiteX8" fmla="*/ 251654 w 1723560"/>
                  <a:gd name="connsiteY8" fmla="*/ 0 h 574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60" h="5741042">
                    <a:moveTo>
                      <a:pt x="251654" y="0"/>
                    </a:moveTo>
                    <a:lnTo>
                      <a:pt x="1723560" y="1719338"/>
                    </a:lnTo>
                    <a:lnTo>
                      <a:pt x="1723559" y="4879261"/>
                    </a:lnTo>
                    <a:cubicBezTo>
                      <a:pt x="1723559" y="5355209"/>
                      <a:pt x="1337727" y="5741041"/>
                      <a:pt x="861779" y="5741042"/>
                    </a:cubicBezTo>
                    <a:lnTo>
                      <a:pt x="861780" y="5741040"/>
                    </a:lnTo>
                    <a:cubicBezTo>
                      <a:pt x="385832" y="5741040"/>
                      <a:pt x="0" y="5355208"/>
                      <a:pt x="0" y="4879260"/>
                    </a:cubicBezTo>
                    <a:lnTo>
                      <a:pt x="0" y="608539"/>
                    </a:lnTo>
                    <a:cubicBezTo>
                      <a:pt x="0" y="400312"/>
                      <a:pt x="73850" y="209333"/>
                      <a:pt x="196788" y="60367"/>
                    </a:cubicBezTo>
                    <a:lnTo>
                      <a:pt x="251654"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7" name="Oval 16">
                <a:extLst>
                  <a:ext uri="{FF2B5EF4-FFF2-40B4-BE49-F238E27FC236}">
                    <a16:creationId xmlns:a16="http://schemas.microsoft.com/office/drawing/2014/main" id="{66A9FB76-298D-492B-8CF0-B92F9FE4AD56}"/>
                  </a:ext>
                </a:extLst>
              </p:cNvPr>
              <p:cNvSpPr/>
              <p:nvPr/>
            </p:nvSpPr>
            <p:spPr bwMode="auto">
              <a:xfrm>
                <a:off x="8606141" y="4355018"/>
                <a:ext cx="1769743" cy="1769263"/>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8" name="Freeform: Shape 17">
                <a:extLst>
                  <a:ext uri="{FF2B5EF4-FFF2-40B4-BE49-F238E27FC236}">
                    <a16:creationId xmlns:a16="http://schemas.microsoft.com/office/drawing/2014/main" id="{1C0FA65E-ECB0-41EA-A5C9-13E807D05823}"/>
                  </a:ext>
                </a:extLst>
              </p:cNvPr>
              <p:cNvSpPr/>
              <p:nvPr/>
            </p:nvSpPr>
            <p:spPr bwMode="auto">
              <a:xfrm>
                <a:off x="8102890" y="881765"/>
                <a:ext cx="1745614" cy="1747904"/>
              </a:xfrm>
              <a:custGeom>
                <a:avLst/>
                <a:gdLst>
                  <a:gd name="connsiteX0" fmla="*/ 752475 w 1504950"/>
                  <a:gd name="connsiteY0" fmla="*/ 0 h 1504950"/>
                  <a:gd name="connsiteX1" fmla="*/ 1504950 w 1504950"/>
                  <a:gd name="connsiteY1" fmla="*/ 752475 h 1504950"/>
                  <a:gd name="connsiteX2" fmla="*/ 752475 w 1504950"/>
                  <a:gd name="connsiteY2" fmla="*/ 1504950 h 1504950"/>
                  <a:gd name="connsiteX3" fmla="*/ 0 w 1504950"/>
                  <a:gd name="connsiteY3" fmla="*/ 752475 h 1504950"/>
                  <a:gd name="connsiteX4" fmla="*/ 752475 w 1504950"/>
                  <a:gd name="connsiteY4" fmla="*/ 0 h 1504950"/>
                  <a:gd name="connsiteX5" fmla="*/ 752475 w 1504950"/>
                  <a:gd name="connsiteY5" fmla="*/ 177119 h 1504950"/>
                  <a:gd name="connsiteX6" fmla="*/ 177119 w 1504950"/>
                  <a:gd name="connsiteY6" fmla="*/ 752475 h 1504950"/>
                  <a:gd name="connsiteX7" fmla="*/ 752475 w 1504950"/>
                  <a:gd name="connsiteY7" fmla="*/ 1327831 h 1504950"/>
                  <a:gd name="connsiteX8" fmla="*/ 1327831 w 1504950"/>
                  <a:gd name="connsiteY8" fmla="*/ 752475 h 1504950"/>
                  <a:gd name="connsiteX9" fmla="*/ 752475 w 1504950"/>
                  <a:gd name="connsiteY9" fmla="*/ 177119 h 15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4950" h="1504950">
                    <a:moveTo>
                      <a:pt x="752475" y="0"/>
                    </a:moveTo>
                    <a:cubicBezTo>
                      <a:pt x="1168055" y="0"/>
                      <a:pt x="1504950" y="336895"/>
                      <a:pt x="1504950" y="752475"/>
                    </a:cubicBezTo>
                    <a:cubicBezTo>
                      <a:pt x="1504950" y="1168055"/>
                      <a:pt x="1168055" y="1504950"/>
                      <a:pt x="752475" y="1504950"/>
                    </a:cubicBezTo>
                    <a:cubicBezTo>
                      <a:pt x="336895" y="1504950"/>
                      <a:pt x="0" y="1168055"/>
                      <a:pt x="0" y="752475"/>
                    </a:cubicBezTo>
                    <a:cubicBezTo>
                      <a:pt x="0" y="336895"/>
                      <a:pt x="336895" y="0"/>
                      <a:pt x="752475" y="0"/>
                    </a:cubicBezTo>
                    <a:close/>
                    <a:moveTo>
                      <a:pt x="752475" y="177119"/>
                    </a:moveTo>
                    <a:cubicBezTo>
                      <a:pt x="434715" y="177119"/>
                      <a:pt x="177119" y="434715"/>
                      <a:pt x="177119" y="752475"/>
                    </a:cubicBezTo>
                    <a:cubicBezTo>
                      <a:pt x="177119" y="1070235"/>
                      <a:pt x="434715" y="1327831"/>
                      <a:pt x="752475" y="1327831"/>
                    </a:cubicBezTo>
                    <a:cubicBezTo>
                      <a:pt x="1070235" y="1327831"/>
                      <a:pt x="1327831" y="1070235"/>
                      <a:pt x="1327831" y="752475"/>
                    </a:cubicBezTo>
                    <a:cubicBezTo>
                      <a:pt x="1327831" y="434715"/>
                      <a:pt x="1070235" y="177119"/>
                      <a:pt x="752475" y="17711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grpSp>
    </p:spTree>
    <p:extLst>
      <p:ext uri="{BB962C8B-B14F-4D97-AF65-F5344CB8AC3E}">
        <p14:creationId xmlns:p14="http://schemas.microsoft.com/office/powerpoint/2010/main" val="135138767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Section DIvider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BBF8385-AF4D-4550-9B61-72202B76D736}"/>
              </a:ext>
            </a:extLst>
          </p:cNvPr>
          <p:cNvSpPr/>
          <p:nvPr/>
        </p:nvSpPr>
        <p:spPr bwMode="auto">
          <a:xfrm>
            <a:off x="0" y="0"/>
            <a:ext cx="12192000" cy="68580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C2711764-52DC-471A-968F-97E3459D10BF}"/>
              </a:ext>
            </a:extLst>
          </p:cNvPr>
          <p:cNvSpPr/>
          <p:nvPr/>
        </p:nvSpPr>
        <p:spPr bwMode="auto">
          <a:xfrm>
            <a:off x="3325615" y="1899606"/>
            <a:ext cx="8866386" cy="3058788"/>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8" name="Graphic 7">
            <a:extLst>
              <a:ext uri="{FF2B5EF4-FFF2-40B4-BE49-F238E27FC236}">
                <a16:creationId xmlns:a16="http://schemas.microsoft.com/office/drawing/2014/main" id="{3EFF4555-5F2D-48CA-B338-3C6433FAA69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502095" y="444500"/>
            <a:ext cx="1270805" cy="271445"/>
          </a:xfrm>
          <a:prstGeom prst="rect">
            <a:avLst/>
          </a:prstGeom>
        </p:spPr>
      </p:pic>
      <p:sp>
        <p:nvSpPr>
          <p:cNvPr id="10" name="object 33">
            <a:extLst>
              <a:ext uri="{FF2B5EF4-FFF2-40B4-BE49-F238E27FC236}">
                <a16:creationId xmlns:a16="http://schemas.microsoft.com/office/drawing/2014/main" id="{B73917AA-3F8B-4A5E-AE02-96FCB525E853}"/>
              </a:ext>
            </a:extLst>
          </p:cNvPr>
          <p:cNvSpPr txBox="1">
            <a:spLocks/>
          </p:cNvSpPr>
          <p:nvPr/>
        </p:nvSpPr>
        <p:spPr>
          <a:xfrm>
            <a:off x="4872567" y="6586451"/>
            <a:ext cx="2446867" cy="173124"/>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gn="ctr">
              <a:spcBef>
                <a:spcPts val="150"/>
              </a:spcBef>
            </a:pPr>
            <a:r>
              <a:rPr lang="en-US" sz="1000" kern="100">
                <a:solidFill>
                  <a:schemeClr val="tx1">
                    <a:lumMod val="50000"/>
                    <a:lumOff val="50000"/>
                  </a:schemeClr>
                </a:solidFill>
                <a:latin typeface="Segoe UI" panose="020B0502040204020203" pitchFamily="34" charset="0"/>
                <a:cs typeface="Segoe UI" panose="020B0502040204020203" pitchFamily="34" charset="0"/>
              </a:rPr>
              <a:t>Microsoft confidential.</a:t>
            </a:r>
          </a:p>
        </p:txBody>
      </p:sp>
      <p:sp>
        <p:nvSpPr>
          <p:cNvPr id="11" name="Text Placeholder 15">
            <a:extLst>
              <a:ext uri="{FF2B5EF4-FFF2-40B4-BE49-F238E27FC236}">
                <a16:creationId xmlns:a16="http://schemas.microsoft.com/office/drawing/2014/main" id="{A67627AC-D3D0-45A5-829C-169921B8D065}"/>
              </a:ext>
            </a:extLst>
          </p:cNvPr>
          <p:cNvSpPr>
            <a:spLocks noGrp="1"/>
          </p:cNvSpPr>
          <p:nvPr>
            <p:ph type="body" sz="quarter" idx="10" hasCustomPrompt="1"/>
          </p:nvPr>
        </p:nvSpPr>
        <p:spPr>
          <a:xfrm>
            <a:off x="6332539" y="2506532"/>
            <a:ext cx="5440362" cy="1584325"/>
          </a:xfrm>
        </p:spPr>
        <p:txBody>
          <a:bodyPr anchor="b"/>
          <a:lstStyle>
            <a:lvl1pPr>
              <a:defRPr sz="4400">
                <a:latin typeface="+mj-lt"/>
              </a:defRPr>
            </a:lvl1pPr>
          </a:lstStyle>
          <a:p>
            <a:pPr lvl="0"/>
            <a:r>
              <a:rPr lang="en-US"/>
              <a:t>Click to add text</a:t>
            </a:r>
          </a:p>
        </p:txBody>
      </p:sp>
      <p:cxnSp>
        <p:nvCxnSpPr>
          <p:cNvPr id="13" name="Straight Connector 12">
            <a:extLst>
              <a:ext uri="{FF2B5EF4-FFF2-40B4-BE49-F238E27FC236}">
                <a16:creationId xmlns:a16="http://schemas.microsoft.com/office/drawing/2014/main" id="{F0684281-BEF7-491E-B70A-918A8251EAB1}"/>
              </a:ext>
            </a:extLst>
          </p:cNvPr>
          <p:cNvCxnSpPr/>
          <p:nvPr/>
        </p:nvCxnSpPr>
        <p:spPr>
          <a:xfrm>
            <a:off x="6332539" y="4233672"/>
            <a:ext cx="5440362" cy="0"/>
          </a:xfrm>
          <a:prstGeom prst="line">
            <a:avLst/>
          </a:prstGeom>
          <a:ln cap="rnd">
            <a:solidFill>
              <a:srgbClr val="008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9F1BF8-E39C-40CD-82D2-B0DB3D9A4C2B}"/>
              </a:ext>
            </a:extLst>
          </p:cNvPr>
          <p:cNvCxnSpPr>
            <a:cxnSpLocks/>
          </p:cNvCxnSpPr>
          <p:nvPr/>
        </p:nvCxnSpPr>
        <p:spPr>
          <a:xfrm>
            <a:off x="8727440" y="4325112"/>
            <a:ext cx="2853055" cy="0"/>
          </a:xfrm>
          <a:prstGeom prst="line">
            <a:avLst/>
          </a:prstGeom>
          <a:ln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7D4E8BEE-661C-4520-BAD2-80FB347F565C}"/>
              </a:ext>
            </a:extLst>
          </p:cNvPr>
          <p:cNvGrpSpPr/>
          <p:nvPr/>
        </p:nvGrpSpPr>
        <p:grpSpPr>
          <a:xfrm>
            <a:off x="-418728" y="-1658421"/>
            <a:ext cx="5537080" cy="9562369"/>
            <a:chOff x="-418728" y="-1658421"/>
            <a:chExt cx="5537080" cy="9562369"/>
          </a:xfrm>
        </p:grpSpPr>
        <p:sp>
          <p:nvSpPr>
            <p:cNvPr id="29" name="Freeform: Shape 28">
              <a:extLst>
                <a:ext uri="{FF2B5EF4-FFF2-40B4-BE49-F238E27FC236}">
                  <a16:creationId xmlns:a16="http://schemas.microsoft.com/office/drawing/2014/main" id="{CE5F5489-A9A7-4978-9DE2-6AC6CC17CF8B}"/>
                </a:ext>
              </a:extLst>
            </p:cNvPr>
            <p:cNvSpPr/>
            <p:nvPr/>
          </p:nvSpPr>
          <p:spPr bwMode="auto">
            <a:xfrm>
              <a:off x="-136410" y="-15894"/>
              <a:ext cx="2538509" cy="1361900"/>
            </a:xfrm>
            <a:custGeom>
              <a:avLst/>
              <a:gdLst>
                <a:gd name="connsiteX0" fmla="*/ 4678 w 2538509"/>
                <a:gd name="connsiteY0" fmla="*/ 0 h 1361900"/>
                <a:gd name="connsiteX1" fmla="*/ 303439 w 2538509"/>
                <a:gd name="connsiteY1" fmla="*/ 0 h 1361900"/>
                <a:gd name="connsiteX2" fmla="*/ 298760 w 2538509"/>
                <a:gd name="connsiteY2" fmla="*/ 92646 h 1361900"/>
                <a:gd name="connsiteX3" fmla="*/ 1269255 w 2538509"/>
                <a:gd name="connsiteY3" fmla="*/ 1063141 h 1361900"/>
                <a:gd name="connsiteX4" fmla="*/ 2239750 w 2538509"/>
                <a:gd name="connsiteY4" fmla="*/ 92646 h 1361900"/>
                <a:gd name="connsiteX5" fmla="*/ 2235071 w 2538509"/>
                <a:gd name="connsiteY5" fmla="*/ 0 h 1361900"/>
                <a:gd name="connsiteX6" fmla="*/ 2533831 w 2538509"/>
                <a:gd name="connsiteY6" fmla="*/ 0 h 1361900"/>
                <a:gd name="connsiteX7" fmla="*/ 2538509 w 2538509"/>
                <a:gd name="connsiteY7" fmla="*/ 92646 h 1361900"/>
                <a:gd name="connsiteX8" fmla="*/ 1269255 w 2538509"/>
                <a:gd name="connsiteY8" fmla="*/ 1361900 h 1361900"/>
                <a:gd name="connsiteX9" fmla="*/ 0 w 2538509"/>
                <a:gd name="connsiteY9" fmla="*/ 92646 h 1361900"/>
                <a:gd name="connsiteX10" fmla="*/ 4678 w 2538509"/>
                <a:gd name="connsiteY10" fmla="*/ 0 h 136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8509" h="1361900">
                  <a:moveTo>
                    <a:pt x="4678" y="0"/>
                  </a:moveTo>
                  <a:lnTo>
                    <a:pt x="303439" y="0"/>
                  </a:lnTo>
                  <a:lnTo>
                    <a:pt x="298760" y="92646"/>
                  </a:lnTo>
                  <a:cubicBezTo>
                    <a:pt x="298760" y="628635"/>
                    <a:pt x="733266" y="1063141"/>
                    <a:pt x="1269255" y="1063141"/>
                  </a:cubicBezTo>
                  <a:cubicBezTo>
                    <a:pt x="1805244" y="1063141"/>
                    <a:pt x="2239750" y="628635"/>
                    <a:pt x="2239750" y="92646"/>
                  </a:cubicBezTo>
                  <a:lnTo>
                    <a:pt x="2235071" y="0"/>
                  </a:lnTo>
                  <a:lnTo>
                    <a:pt x="2533831" y="0"/>
                  </a:lnTo>
                  <a:lnTo>
                    <a:pt x="2538509" y="92646"/>
                  </a:lnTo>
                  <a:cubicBezTo>
                    <a:pt x="2538509" y="793635"/>
                    <a:pt x="1970244" y="1361900"/>
                    <a:pt x="1269255" y="1361900"/>
                  </a:cubicBezTo>
                  <a:cubicBezTo>
                    <a:pt x="568265" y="1361900"/>
                    <a:pt x="0" y="793635"/>
                    <a:pt x="0" y="92646"/>
                  </a:cubicBezTo>
                  <a:lnTo>
                    <a:pt x="4678"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algn="l">
                <a:lnSpc>
                  <a:spcPct val="107000"/>
                </a:lnSpc>
                <a:spcBef>
                  <a:spcPts val="0"/>
                </a:spcBef>
                <a:spcAft>
                  <a:spcPts val="800"/>
                </a:spcAft>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5" name="Freeform: Shape 44">
              <a:extLst>
                <a:ext uri="{FF2B5EF4-FFF2-40B4-BE49-F238E27FC236}">
                  <a16:creationId xmlns:a16="http://schemas.microsoft.com/office/drawing/2014/main" id="{31911F0B-8279-445C-AA49-6A8CD0E022E9}"/>
                </a:ext>
              </a:extLst>
            </p:cNvPr>
            <p:cNvSpPr/>
            <p:nvPr/>
          </p:nvSpPr>
          <p:spPr bwMode="auto">
            <a:xfrm rot="2433989">
              <a:off x="2679898" y="-1658421"/>
              <a:ext cx="2438454" cy="9562369"/>
            </a:xfrm>
            <a:custGeom>
              <a:avLst/>
              <a:gdLst>
                <a:gd name="connsiteX0" fmla="*/ 0 w 2438454"/>
                <a:gd name="connsiteY0" fmla="*/ 1693248 h 9562369"/>
                <a:gd name="connsiteX1" fmla="*/ 1977887 w 2438454"/>
                <a:gd name="connsiteY1" fmla="*/ 0 h 9562369"/>
                <a:gd name="connsiteX2" fmla="*/ 1994769 w 2438454"/>
                <a:gd name="connsiteY2" fmla="*/ 12624 h 9562369"/>
                <a:gd name="connsiteX3" fmla="*/ 2438454 w 2438454"/>
                <a:gd name="connsiteY3" fmla="*/ 953438 h 9562369"/>
                <a:gd name="connsiteX4" fmla="*/ 2438454 w 2438454"/>
                <a:gd name="connsiteY4" fmla="*/ 8343142 h 9562369"/>
                <a:gd name="connsiteX5" fmla="*/ 2383640 w 2438454"/>
                <a:gd name="connsiteY5" fmla="*/ 8705703 h 9562369"/>
                <a:gd name="connsiteX6" fmla="*/ 2372746 w 2438454"/>
                <a:gd name="connsiteY6" fmla="*/ 8735468 h 9562369"/>
                <a:gd name="connsiteX7" fmla="*/ 1429447 w 2438454"/>
                <a:gd name="connsiteY7" fmla="*/ 9543016 h 9562369"/>
                <a:gd name="connsiteX8" fmla="*/ 1343886 w 2438454"/>
                <a:gd name="connsiteY8" fmla="*/ 9556075 h 9562369"/>
                <a:gd name="connsiteX9" fmla="*/ 1219226 w 2438454"/>
                <a:gd name="connsiteY9" fmla="*/ 9562369 h 9562369"/>
                <a:gd name="connsiteX10" fmla="*/ 1219227 w 2438454"/>
                <a:gd name="connsiteY10" fmla="*/ 9562369 h 9562369"/>
                <a:gd name="connsiteX11" fmla="*/ 0 w 2438454"/>
                <a:gd name="connsiteY11" fmla="*/ 8343141 h 9562369"/>
                <a:gd name="connsiteX12" fmla="*/ 0 w 2438454"/>
                <a:gd name="connsiteY12" fmla="*/ 1693248 h 956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54" h="9562369">
                  <a:moveTo>
                    <a:pt x="0" y="1693248"/>
                  </a:moveTo>
                  <a:lnTo>
                    <a:pt x="1977887" y="0"/>
                  </a:lnTo>
                  <a:lnTo>
                    <a:pt x="1994769" y="12624"/>
                  </a:lnTo>
                  <a:cubicBezTo>
                    <a:pt x="2265739" y="236249"/>
                    <a:pt x="2438454" y="574674"/>
                    <a:pt x="2438454" y="953438"/>
                  </a:cubicBezTo>
                  <a:cubicBezTo>
                    <a:pt x="2438454" y="3416673"/>
                    <a:pt x="2438453" y="5879909"/>
                    <a:pt x="2438454" y="8343142"/>
                  </a:cubicBezTo>
                  <a:cubicBezTo>
                    <a:pt x="2438454" y="8469397"/>
                    <a:pt x="2419263" y="8591170"/>
                    <a:pt x="2383640" y="8705703"/>
                  </a:cubicBezTo>
                  <a:lnTo>
                    <a:pt x="2372746" y="8735468"/>
                  </a:lnTo>
                  <a:lnTo>
                    <a:pt x="1429447" y="9543016"/>
                  </a:lnTo>
                  <a:lnTo>
                    <a:pt x="1343886" y="9556075"/>
                  </a:lnTo>
                  <a:cubicBezTo>
                    <a:pt x="1302898" y="9560237"/>
                    <a:pt x="1261311" y="9562369"/>
                    <a:pt x="1219226" y="9562369"/>
                  </a:cubicBezTo>
                  <a:lnTo>
                    <a:pt x="1219227" y="9562369"/>
                  </a:lnTo>
                  <a:cubicBezTo>
                    <a:pt x="545868" y="9562368"/>
                    <a:pt x="0" y="9016501"/>
                    <a:pt x="0" y="8343141"/>
                  </a:cubicBezTo>
                  <a:lnTo>
                    <a:pt x="0" y="1693248"/>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1" name="Freeform: Shape 40">
              <a:extLst>
                <a:ext uri="{FF2B5EF4-FFF2-40B4-BE49-F238E27FC236}">
                  <a16:creationId xmlns:a16="http://schemas.microsoft.com/office/drawing/2014/main" id="{4E01B091-86B0-4F26-9B47-3027B42A45D8}"/>
                </a:ext>
              </a:extLst>
            </p:cNvPr>
            <p:cNvSpPr/>
            <p:nvPr/>
          </p:nvSpPr>
          <p:spPr bwMode="auto">
            <a:xfrm rot="8101561">
              <a:off x="-418728" y="2685412"/>
              <a:ext cx="2438455" cy="4704677"/>
            </a:xfrm>
            <a:custGeom>
              <a:avLst/>
              <a:gdLst>
                <a:gd name="connsiteX0" fmla="*/ 585 w 2438455"/>
                <a:gd name="connsiteY0" fmla="*/ 4704677 h 4704677"/>
                <a:gd name="connsiteX1" fmla="*/ 1 w 2438455"/>
                <a:gd name="connsiteY1" fmla="*/ 4693100 h 4704677"/>
                <a:gd name="connsiteX2" fmla="*/ 0 w 2438455"/>
                <a:gd name="connsiteY2" fmla="*/ 1219227 h 4704677"/>
                <a:gd name="connsiteX3" fmla="*/ 1219227 w 2438455"/>
                <a:gd name="connsiteY3" fmla="*/ 0 h 4704677"/>
                <a:gd name="connsiteX4" fmla="*/ 1464944 w 2438455"/>
                <a:gd name="connsiteY4" fmla="*/ 24770 h 4704677"/>
                <a:gd name="connsiteX5" fmla="*/ 1500768 w 2438455"/>
                <a:gd name="connsiteY5" fmla="*/ 33982 h 4704677"/>
                <a:gd name="connsiteX6" fmla="*/ 2404188 w 2438455"/>
                <a:gd name="connsiteY6" fmla="*/ 936582 h 4704677"/>
                <a:gd name="connsiteX7" fmla="*/ 2413684 w 2438455"/>
                <a:gd name="connsiteY7" fmla="*/ 973510 h 4704677"/>
                <a:gd name="connsiteX8" fmla="*/ 2438454 w 2438455"/>
                <a:gd name="connsiteY8" fmla="*/ 1219227 h 4704677"/>
                <a:gd name="connsiteX9" fmla="*/ 2438455 w 2438455"/>
                <a:gd name="connsiteY9" fmla="*/ 2264594 h 4704677"/>
                <a:gd name="connsiteX10" fmla="*/ 585 w 2438455"/>
                <a:gd name="connsiteY10" fmla="*/ 4704677 h 470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455" h="4704677">
                  <a:moveTo>
                    <a:pt x="585" y="4704677"/>
                  </a:moveTo>
                  <a:lnTo>
                    <a:pt x="1" y="4693100"/>
                  </a:lnTo>
                  <a:lnTo>
                    <a:pt x="0" y="1219227"/>
                  </a:lnTo>
                  <a:cubicBezTo>
                    <a:pt x="0" y="545867"/>
                    <a:pt x="545867" y="0"/>
                    <a:pt x="1219227" y="0"/>
                  </a:cubicBezTo>
                  <a:cubicBezTo>
                    <a:pt x="1303397" y="0"/>
                    <a:pt x="1385575" y="8529"/>
                    <a:pt x="1464944" y="24770"/>
                  </a:cubicBezTo>
                  <a:lnTo>
                    <a:pt x="1500768" y="33982"/>
                  </a:lnTo>
                  <a:lnTo>
                    <a:pt x="2404188" y="936582"/>
                  </a:lnTo>
                  <a:lnTo>
                    <a:pt x="2413684" y="973510"/>
                  </a:lnTo>
                  <a:cubicBezTo>
                    <a:pt x="2429925" y="1052879"/>
                    <a:pt x="2438454" y="1135057"/>
                    <a:pt x="2438454" y="1219227"/>
                  </a:cubicBezTo>
                  <a:lnTo>
                    <a:pt x="2438455" y="2264594"/>
                  </a:lnTo>
                  <a:lnTo>
                    <a:pt x="585" y="4704677"/>
                  </a:ln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7" name="Freeform: Shape 36">
              <a:extLst>
                <a:ext uri="{FF2B5EF4-FFF2-40B4-BE49-F238E27FC236}">
                  <a16:creationId xmlns:a16="http://schemas.microsoft.com/office/drawing/2014/main" id="{C8036D68-DFCB-4FEE-A481-B3EF513D81F9}"/>
                </a:ext>
              </a:extLst>
            </p:cNvPr>
            <p:cNvSpPr/>
            <p:nvPr/>
          </p:nvSpPr>
          <p:spPr bwMode="auto">
            <a:xfrm>
              <a:off x="354478" y="4590490"/>
              <a:ext cx="2490322" cy="2286321"/>
            </a:xfrm>
            <a:custGeom>
              <a:avLst/>
              <a:gdLst>
                <a:gd name="connsiteX0" fmla="*/ 1245161 w 2490322"/>
                <a:gd name="connsiteY0" fmla="*/ 0 h 2286321"/>
                <a:gd name="connsiteX1" fmla="*/ 2490322 w 2490322"/>
                <a:gd name="connsiteY1" fmla="*/ 1245161 h 2286321"/>
                <a:gd name="connsiteX2" fmla="*/ 1941342 w 2490322"/>
                <a:gd name="connsiteY2" fmla="*/ 2277668 h 2286321"/>
                <a:gd name="connsiteX3" fmla="*/ 1927099 w 2490322"/>
                <a:gd name="connsiteY3" fmla="*/ 2286321 h 2286321"/>
                <a:gd name="connsiteX4" fmla="*/ 563223 w 2490322"/>
                <a:gd name="connsiteY4" fmla="*/ 2286321 h 2286321"/>
                <a:gd name="connsiteX5" fmla="*/ 548980 w 2490322"/>
                <a:gd name="connsiteY5" fmla="*/ 2277668 h 2286321"/>
                <a:gd name="connsiteX6" fmla="*/ 0 w 2490322"/>
                <a:gd name="connsiteY6" fmla="*/ 1245161 h 2286321"/>
                <a:gd name="connsiteX7" fmla="*/ 1245161 w 2490322"/>
                <a:gd name="connsiteY7" fmla="*/ 0 h 2286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0322" h="2286321">
                  <a:moveTo>
                    <a:pt x="1245161" y="0"/>
                  </a:moveTo>
                  <a:cubicBezTo>
                    <a:pt x="1932844" y="0"/>
                    <a:pt x="2490322" y="557478"/>
                    <a:pt x="2490322" y="1245161"/>
                  </a:cubicBezTo>
                  <a:cubicBezTo>
                    <a:pt x="2490322" y="1674963"/>
                    <a:pt x="2272557" y="2053904"/>
                    <a:pt x="1941342" y="2277668"/>
                  </a:cubicBezTo>
                  <a:lnTo>
                    <a:pt x="1927099" y="2286321"/>
                  </a:lnTo>
                  <a:lnTo>
                    <a:pt x="563223" y="2286321"/>
                  </a:lnTo>
                  <a:lnTo>
                    <a:pt x="548980" y="2277668"/>
                  </a:lnTo>
                  <a:cubicBezTo>
                    <a:pt x="217765" y="2053904"/>
                    <a:pt x="0" y="1674963"/>
                    <a:pt x="0" y="1245161"/>
                  </a:cubicBezTo>
                  <a:cubicBezTo>
                    <a:pt x="0" y="557478"/>
                    <a:pt x="557478" y="0"/>
                    <a:pt x="124516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13578564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14F4E0B7-623C-4007-88CA-EB7C494B9C20}"/>
              </a:ext>
            </a:extLst>
          </p:cNvPr>
          <p:cNvSpPr txBox="1"/>
          <p:nvPr/>
        </p:nvSpPr>
        <p:spPr>
          <a:xfrm>
            <a:off x="419100" y="3013502"/>
            <a:ext cx="3149600" cy="830997"/>
          </a:xfrm>
          <a:prstGeom prst="rect">
            <a:avLst/>
          </a:prstGeom>
          <a:noFill/>
        </p:spPr>
        <p:txBody>
          <a:bodyPr wrap="square" lIns="0" tIns="0" rIns="0" bIns="0" rtlCol="0">
            <a:spAutoFit/>
          </a:bodyPr>
          <a:lstStyle/>
          <a:p>
            <a:pPr>
              <a:lnSpc>
                <a:spcPct val="90000"/>
              </a:lnSpc>
              <a:spcAft>
                <a:spcPts val="600"/>
              </a:spcAft>
            </a:pPr>
            <a:r>
              <a:rPr lang="en-US" sz="6000">
                <a:solidFill>
                  <a:schemeClr val="accent2"/>
                </a:solidFill>
                <a:latin typeface="+mj-lt"/>
              </a:rPr>
              <a:t>AGENDA</a:t>
            </a:r>
          </a:p>
        </p:txBody>
      </p:sp>
      <p:cxnSp>
        <p:nvCxnSpPr>
          <p:cNvPr id="5" name="Straight Connector 4">
            <a:extLst>
              <a:ext uri="{FF2B5EF4-FFF2-40B4-BE49-F238E27FC236}">
                <a16:creationId xmlns:a16="http://schemas.microsoft.com/office/drawing/2014/main" id="{51601708-264E-4755-B9B6-A11DB67807AE}"/>
              </a:ext>
            </a:extLst>
          </p:cNvPr>
          <p:cNvCxnSpPr>
            <a:cxnSpLocks/>
          </p:cNvCxnSpPr>
          <p:nvPr/>
        </p:nvCxnSpPr>
        <p:spPr>
          <a:xfrm>
            <a:off x="4140200" y="981075"/>
            <a:ext cx="0" cy="489585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DB2730D9-FBC5-4321-9068-B87FFB9A758A}"/>
              </a:ext>
            </a:extLst>
          </p:cNvPr>
          <p:cNvSpPr>
            <a:spLocks noGrp="1"/>
          </p:cNvSpPr>
          <p:nvPr>
            <p:ph type="body" sz="quarter" idx="14" hasCustomPrompt="1"/>
          </p:nvPr>
        </p:nvSpPr>
        <p:spPr>
          <a:xfrm>
            <a:off x="5702300" y="849313"/>
            <a:ext cx="6070600" cy="1030286"/>
          </a:xfrm>
        </p:spPr>
        <p:txBody>
          <a:bodyPr anchor="ctr"/>
          <a:lstStyle>
            <a:lvl1pPr>
              <a:defRPr sz="2000"/>
            </a:lvl1pPr>
          </a:lstStyle>
          <a:p>
            <a:pPr lvl="0"/>
            <a:r>
              <a:rPr lang="en-US"/>
              <a:t>Insert Text</a:t>
            </a:r>
          </a:p>
        </p:txBody>
      </p:sp>
      <p:sp>
        <p:nvSpPr>
          <p:cNvPr id="18" name="Text Placeholder 16">
            <a:extLst>
              <a:ext uri="{FF2B5EF4-FFF2-40B4-BE49-F238E27FC236}">
                <a16:creationId xmlns:a16="http://schemas.microsoft.com/office/drawing/2014/main" id="{A7F208D7-A1F2-4419-90EA-87DFF23CCC50}"/>
              </a:ext>
            </a:extLst>
          </p:cNvPr>
          <p:cNvSpPr>
            <a:spLocks noGrp="1"/>
          </p:cNvSpPr>
          <p:nvPr>
            <p:ph type="body" sz="quarter" idx="15" hasCustomPrompt="1"/>
          </p:nvPr>
        </p:nvSpPr>
        <p:spPr>
          <a:xfrm>
            <a:off x="5702300" y="2253721"/>
            <a:ext cx="6070600" cy="1030286"/>
          </a:xfrm>
        </p:spPr>
        <p:txBody>
          <a:bodyPr anchor="ctr"/>
          <a:lstStyle>
            <a:lvl1pPr>
              <a:defRPr sz="2000"/>
            </a:lvl1pPr>
          </a:lstStyle>
          <a:p>
            <a:pPr lvl="0"/>
            <a:r>
              <a:rPr lang="en-US"/>
              <a:t>Insert Text</a:t>
            </a:r>
          </a:p>
        </p:txBody>
      </p:sp>
      <p:sp>
        <p:nvSpPr>
          <p:cNvPr id="19" name="Text Placeholder 16">
            <a:extLst>
              <a:ext uri="{FF2B5EF4-FFF2-40B4-BE49-F238E27FC236}">
                <a16:creationId xmlns:a16="http://schemas.microsoft.com/office/drawing/2014/main" id="{2EE32BB1-BB40-4002-9DB7-848F4FD96B1C}"/>
              </a:ext>
            </a:extLst>
          </p:cNvPr>
          <p:cNvSpPr>
            <a:spLocks noGrp="1"/>
          </p:cNvSpPr>
          <p:nvPr>
            <p:ph type="body" sz="quarter" idx="16" hasCustomPrompt="1"/>
          </p:nvPr>
        </p:nvSpPr>
        <p:spPr>
          <a:xfrm>
            <a:off x="5702300" y="3658129"/>
            <a:ext cx="6070600" cy="1030286"/>
          </a:xfrm>
        </p:spPr>
        <p:txBody>
          <a:bodyPr anchor="ctr"/>
          <a:lstStyle>
            <a:lvl1pPr>
              <a:defRPr sz="2000"/>
            </a:lvl1pPr>
          </a:lstStyle>
          <a:p>
            <a:pPr lvl="0"/>
            <a:r>
              <a:rPr lang="en-US"/>
              <a:t>Insert Text</a:t>
            </a:r>
          </a:p>
        </p:txBody>
      </p:sp>
      <p:sp>
        <p:nvSpPr>
          <p:cNvPr id="20" name="Text Placeholder 16">
            <a:extLst>
              <a:ext uri="{FF2B5EF4-FFF2-40B4-BE49-F238E27FC236}">
                <a16:creationId xmlns:a16="http://schemas.microsoft.com/office/drawing/2014/main" id="{CA2F7649-7871-4F82-8CBD-14726A2BC560}"/>
              </a:ext>
            </a:extLst>
          </p:cNvPr>
          <p:cNvSpPr>
            <a:spLocks noGrp="1"/>
          </p:cNvSpPr>
          <p:nvPr>
            <p:ph type="body" sz="quarter" idx="17" hasCustomPrompt="1"/>
          </p:nvPr>
        </p:nvSpPr>
        <p:spPr>
          <a:xfrm>
            <a:off x="5702300" y="5062538"/>
            <a:ext cx="6070600" cy="1030286"/>
          </a:xfrm>
        </p:spPr>
        <p:txBody>
          <a:bodyPr anchor="ctr"/>
          <a:lstStyle>
            <a:lvl1pPr>
              <a:defRPr sz="2000"/>
            </a:lvl1pPr>
          </a:lstStyle>
          <a:p>
            <a:pPr lvl="0"/>
            <a:r>
              <a:rPr lang="en-US"/>
              <a:t>Insert Text</a:t>
            </a:r>
          </a:p>
        </p:txBody>
      </p:sp>
      <p:grpSp>
        <p:nvGrpSpPr>
          <p:cNvPr id="43" name="Group 42">
            <a:extLst>
              <a:ext uri="{FF2B5EF4-FFF2-40B4-BE49-F238E27FC236}">
                <a16:creationId xmlns:a16="http://schemas.microsoft.com/office/drawing/2014/main" id="{EB5C41E5-C861-456B-A12F-93E09570849E}"/>
              </a:ext>
            </a:extLst>
          </p:cNvPr>
          <p:cNvGrpSpPr/>
          <p:nvPr/>
        </p:nvGrpSpPr>
        <p:grpSpPr>
          <a:xfrm>
            <a:off x="4641367" y="2418350"/>
            <a:ext cx="751828" cy="751828"/>
            <a:chOff x="4641367" y="2321723"/>
            <a:chExt cx="751828" cy="751828"/>
          </a:xfrm>
        </p:grpSpPr>
        <p:sp>
          <p:nvSpPr>
            <p:cNvPr id="30" name="Freeform: Shape 29">
              <a:extLst>
                <a:ext uri="{FF2B5EF4-FFF2-40B4-BE49-F238E27FC236}">
                  <a16:creationId xmlns:a16="http://schemas.microsoft.com/office/drawing/2014/main" id="{29567C4C-FA00-44C8-953C-6ECED2E2DD80}"/>
                </a:ext>
              </a:extLst>
            </p:cNvPr>
            <p:cNvSpPr/>
            <p:nvPr/>
          </p:nvSpPr>
          <p:spPr>
            <a:xfrm>
              <a:off x="4641367" y="2321723"/>
              <a:ext cx="751828" cy="751828"/>
            </a:xfrm>
            <a:custGeom>
              <a:avLst/>
              <a:gdLst>
                <a:gd name="connsiteX0" fmla="*/ -621 w 751828"/>
                <a:gd name="connsiteY0" fmla="*/ 375605 h 751828"/>
                <a:gd name="connsiteX1" fmla="*/ 375293 w 751828"/>
                <a:gd name="connsiteY1" fmla="*/ -309 h 751828"/>
                <a:gd name="connsiteX2" fmla="*/ 751207 w 751828"/>
                <a:gd name="connsiteY2" fmla="*/ 375605 h 751828"/>
                <a:gd name="connsiteX3" fmla="*/ 375293 w 751828"/>
                <a:gd name="connsiteY3" fmla="*/ 751520 h 751828"/>
                <a:gd name="connsiteX4" fmla="*/ -621 w 751828"/>
                <a:gd name="connsiteY4" fmla="*/ 375605 h 75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51828">
                  <a:moveTo>
                    <a:pt x="-621" y="375605"/>
                  </a:moveTo>
                  <a:cubicBezTo>
                    <a:pt x="-621" y="167990"/>
                    <a:pt x="167678" y="-309"/>
                    <a:pt x="375293" y="-309"/>
                  </a:cubicBezTo>
                  <a:cubicBezTo>
                    <a:pt x="582909" y="-309"/>
                    <a:pt x="751207" y="167990"/>
                    <a:pt x="751207" y="375605"/>
                  </a:cubicBezTo>
                  <a:cubicBezTo>
                    <a:pt x="751207" y="583221"/>
                    <a:pt x="582909" y="751520"/>
                    <a:pt x="375293" y="751520"/>
                  </a:cubicBezTo>
                  <a:cubicBezTo>
                    <a:pt x="167678" y="751520"/>
                    <a:pt x="-621" y="583221"/>
                    <a:pt x="-621" y="375605"/>
                  </a:cubicBezTo>
                  <a:close/>
                </a:path>
              </a:pathLst>
            </a:custGeom>
            <a:solidFill>
              <a:srgbClr val="107C10"/>
            </a:solidFill>
            <a:ln w="7849" cap="flat">
              <a:noFill/>
              <a:prstDash val="solid"/>
              <a:miter/>
            </a:ln>
          </p:spPr>
          <p:txBody>
            <a:bodyPr rtlCol="0" anchor="ctr"/>
            <a:lstStyle/>
            <a:p>
              <a:endParaRPr lang="en-US"/>
            </a:p>
          </p:txBody>
        </p:sp>
        <p:sp>
          <p:nvSpPr>
            <p:cNvPr id="31" name="TextBox 30">
              <a:extLst>
                <a:ext uri="{FF2B5EF4-FFF2-40B4-BE49-F238E27FC236}">
                  <a16:creationId xmlns:a16="http://schemas.microsoft.com/office/drawing/2014/main" id="{B5BCC7A1-A97F-4F50-987C-0BE5EBB5944F}"/>
                </a:ext>
              </a:extLst>
            </p:cNvPr>
            <p:cNvSpPr txBox="1"/>
            <p:nvPr/>
          </p:nvSpPr>
          <p:spPr>
            <a:xfrm>
              <a:off x="4877942" y="2444184"/>
              <a:ext cx="275717" cy="517899"/>
            </a:xfrm>
            <a:prstGeom prst="rect">
              <a:avLst/>
            </a:prstGeom>
            <a:noFill/>
          </p:spPr>
          <p:txBody>
            <a:bodyPr wrap="none" lIns="0" tIns="0" rIns="0" bIns="0" rtlCol="0">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2</a:t>
              </a:r>
            </a:p>
          </p:txBody>
        </p:sp>
      </p:grpSp>
      <p:grpSp>
        <p:nvGrpSpPr>
          <p:cNvPr id="42" name="Group 41">
            <a:extLst>
              <a:ext uri="{FF2B5EF4-FFF2-40B4-BE49-F238E27FC236}">
                <a16:creationId xmlns:a16="http://schemas.microsoft.com/office/drawing/2014/main" id="{AFB66619-75A2-4301-A292-7F96D5AEFDF4}"/>
              </a:ext>
            </a:extLst>
          </p:cNvPr>
          <p:cNvGrpSpPr/>
          <p:nvPr/>
        </p:nvGrpSpPr>
        <p:grpSpPr>
          <a:xfrm>
            <a:off x="4641367" y="3822758"/>
            <a:ext cx="751828" cy="751828"/>
            <a:chOff x="4641367" y="3726131"/>
            <a:chExt cx="751828" cy="751828"/>
          </a:xfrm>
        </p:grpSpPr>
        <p:sp>
          <p:nvSpPr>
            <p:cNvPr id="33" name="Freeform: Shape 32">
              <a:extLst>
                <a:ext uri="{FF2B5EF4-FFF2-40B4-BE49-F238E27FC236}">
                  <a16:creationId xmlns:a16="http://schemas.microsoft.com/office/drawing/2014/main" id="{19595A72-0990-4CE6-9123-881FB9F15285}"/>
                </a:ext>
              </a:extLst>
            </p:cNvPr>
            <p:cNvSpPr/>
            <p:nvPr/>
          </p:nvSpPr>
          <p:spPr>
            <a:xfrm>
              <a:off x="4641367" y="3726131"/>
              <a:ext cx="751828" cy="751828"/>
            </a:xfrm>
            <a:custGeom>
              <a:avLst/>
              <a:gdLst>
                <a:gd name="connsiteX0" fmla="*/ -621 w 751828"/>
                <a:gd name="connsiteY0" fmla="*/ 375421 h 751828"/>
                <a:gd name="connsiteX1" fmla="*/ 375293 w 751828"/>
                <a:gd name="connsiteY1" fmla="*/ -493 h 751828"/>
                <a:gd name="connsiteX2" fmla="*/ 751207 w 751828"/>
                <a:gd name="connsiteY2" fmla="*/ 375421 h 751828"/>
                <a:gd name="connsiteX3" fmla="*/ 375293 w 751828"/>
                <a:gd name="connsiteY3" fmla="*/ 751336 h 751828"/>
                <a:gd name="connsiteX4" fmla="*/ -621 w 751828"/>
                <a:gd name="connsiteY4" fmla="*/ 375421 h 75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51828">
                  <a:moveTo>
                    <a:pt x="-621" y="375421"/>
                  </a:moveTo>
                  <a:cubicBezTo>
                    <a:pt x="-621" y="167806"/>
                    <a:pt x="167678" y="-493"/>
                    <a:pt x="375293" y="-493"/>
                  </a:cubicBezTo>
                  <a:cubicBezTo>
                    <a:pt x="582909" y="-493"/>
                    <a:pt x="751207" y="167806"/>
                    <a:pt x="751207" y="375421"/>
                  </a:cubicBezTo>
                  <a:cubicBezTo>
                    <a:pt x="751207" y="583037"/>
                    <a:pt x="582909" y="751336"/>
                    <a:pt x="375293" y="751336"/>
                  </a:cubicBezTo>
                  <a:cubicBezTo>
                    <a:pt x="167678" y="751336"/>
                    <a:pt x="-621" y="583037"/>
                    <a:pt x="-621" y="375421"/>
                  </a:cubicBezTo>
                  <a:close/>
                </a:path>
              </a:pathLst>
            </a:custGeom>
            <a:solidFill>
              <a:srgbClr val="30E5D0"/>
            </a:solidFill>
            <a:ln w="7849" cap="flat">
              <a:noFill/>
              <a:prstDash val="solid"/>
              <a:miter/>
            </a:ln>
          </p:spPr>
          <p:txBody>
            <a:bodyPr rtlCol="0" anchor="ctr"/>
            <a:lstStyle/>
            <a:p>
              <a:endParaRPr lang="en-US"/>
            </a:p>
          </p:txBody>
        </p:sp>
        <p:sp>
          <p:nvSpPr>
            <p:cNvPr id="34" name="TextBox 33">
              <a:extLst>
                <a:ext uri="{FF2B5EF4-FFF2-40B4-BE49-F238E27FC236}">
                  <a16:creationId xmlns:a16="http://schemas.microsoft.com/office/drawing/2014/main" id="{933FE366-13C2-4E74-B8C5-97CC08A5686F}"/>
                </a:ext>
              </a:extLst>
            </p:cNvPr>
            <p:cNvSpPr txBox="1"/>
            <p:nvPr/>
          </p:nvSpPr>
          <p:spPr>
            <a:xfrm>
              <a:off x="4877942" y="3856506"/>
              <a:ext cx="275717" cy="517899"/>
            </a:xfrm>
            <a:prstGeom prst="rect">
              <a:avLst/>
            </a:prstGeom>
            <a:noFill/>
          </p:spPr>
          <p:txBody>
            <a:bodyPr wrap="none" lIns="0" tIns="0" rIns="0" bIns="0" rtlCol="0">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3</a:t>
              </a:r>
            </a:p>
          </p:txBody>
        </p:sp>
      </p:grpSp>
      <p:grpSp>
        <p:nvGrpSpPr>
          <p:cNvPr id="41" name="Group 40">
            <a:extLst>
              <a:ext uri="{FF2B5EF4-FFF2-40B4-BE49-F238E27FC236}">
                <a16:creationId xmlns:a16="http://schemas.microsoft.com/office/drawing/2014/main" id="{A65C49D6-6537-441F-8135-76842940D99E}"/>
              </a:ext>
            </a:extLst>
          </p:cNvPr>
          <p:cNvGrpSpPr/>
          <p:nvPr/>
        </p:nvGrpSpPr>
        <p:grpSpPr>
          <a:xfrm>
            <a:off x="4641367" y="5196399"/>
            <a:ext cx="751828" cy="813364"/>
            <a:chOff x="4641367" y="5124390"/>
            <a:chExt cx="751828" cy="813364"/>
          </a:xfrm>
        </p:grpSpPr>
        <p:sp>
          <p:nvSpPr>
            <p:cNvPr id="36" name="Freeform: Shape 35">
              <a:extLst>
                <a:ext uri="{FF2B5EF4-FFF2-40B4-BE49-F238E27FC236}">
                  <a16:creationId xmlns:a16="http://schemas.microsoft.com/office/drawing/2014/main" id="{510B9A58-BD33-4547-B0EE-3AEF8B209990}"/>
                </a:ext>
              </a:extLst>
            </p:cNvPr>
            <p:cNvSpPr/>
            <p:nvPr/>
          </p:nvSpPr>
          <p:spPr>
            <a:xfrm>
              <a:off x="4641367" y="5138454"/>
              <a:ext cx="751828" cy="743914"/>
            </a:xfrm>
            <a:custGeom>
              <a:avLst/>
              <a:gdLst>
                <a:gd name="connsiteX0" fmla="*/ -621 w 751828"/>
                <a:gd name="connsiteY0" fmla="*/ 371280 h 743914"/>
                <a:gd name="connsiteX1" fmla="*/ 375293 w 751828"/>
                <a:gd name="connsiteY1" fmla="*/ -677 h 743914"/>
                <a:gd name="connsiteX2" fmla="*/ 751207 w 751828"/>
                <a:gd name="connsiteY2" fmla="*/ 371280 h 743914"/>
                <a:gd name="connsiteX3" fmla="*/ 375293 w 751828"/>
                <a:gd name="connsiteY3" fmla="*/ 743238 h 743914"/>
                <a:gd name="connsiteX4" fmla="*/ -621 w 751828"/>
                <a:gd name="connsiteY4" fmla="*/ 371280 h 74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43914">
                  <a:moveTo>
                    <a:pt x="-621" y="371280"/>
                  </a:moveTo>
                  <a:cubicBezTo>
                    <a:pt x="-621" y="165857"/>
                    <a:pt x="167678" y="-677"/>
                    <a:pt x="375293" y="-677"/>
                  </a:cubicBezTo>
                  <a:cubicBezTo>
                    <a:pt x="582909" y="-677"/>
                    <a:pt x="751207" y="165857"/>
                    <a:pt x="751207" y="371280"/>
                  </a:cubicBezTo>
                  <a:cubicBezTo>
                    <a:pt x="751207" y="576703"/>
                    <a:pt x="582909" y="743238"/>
                    <a:pt x="375293" y="743238"/>
                  </a:cubicBezTo>
                  <a:cubicBezTo>
                    <a:pt x="167678" y="743238"/>
                    <a:pt x="-621" y="576703"/>
                    <a:pt x="-621" y="371280"/>
                  </a:cubicBezTo>
                  <a:close/>
                </a:path>
              </a:pathLst>
            </a:custGeom>
            <a:solidFill>
              <a:srgbClr val="008575"/>
            </a:solidFill>
            <a:ln w="7849" cap="flat">
              <a:noFill/>
              <a:prstDash val="solid"/>
              <a:miter/>
            </a:ln>
          </p:spPr>
          <p:txBody>
            <a:bodyPr rtlCol="0" anchor="ctr"/>
            <a:lstStyle/>
            <a:p>
              <a:endParaRPr lang="en-US"/>
            </a:p>
          </p:txBody>
        </p:sp>
        <p:sp>
          <p:nvSpPr>
            <p:cNvPr id="37" name="TextBox 36">
              <a:extLst>
                <a:ext uri="{FF2B5EF4-FFF2-40B4-BE49-F238E27FC236}">
                  <a16:creationId xmlns:a16="http://schemas.microsoft.com/office/drawing/2014/main" id="{9B343F40-DE7E-462F-8425-668F42548E8B}"/>
                </a:ext>
              </a:extLst>
            </p:cNvPr>
            <p:cNvSpPr txBox="1"/>
            <p:nvPr/>
          </p:nvSpPr>
          <p:spPr>
            <a:xfrm>
              <a:off x="4693278" y="5124390"/>
              <a:ext cx="645048" cy="813364"/>
            </a:xfrm>
            <a:prstGeom prst="rect">
              <a:avLst/>
            </a:prstGeom>
            <a:noFill/>
          </p:spPr>
          <p:txBody>
            <a:bodyPr wrap="none" lIns="182880" tIns="146304" rIns="182880" bIns="146304" rtlCol="0" anchor="ctr">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4</a:t>
              </a:r>
            </a:p>
          </p:txBody>
        </p:sp>
      </p:grpSp>
      <p:grpSp>
        <p:nvGrpSpPr>
          <p:cNvPr id="44" name="Group 43">
            <a:extLst>
              <a:ext uri="{FF2B5EF4-FFF2-40B4-BE49-F238E27FC236}">
                <a16:creationId xmlns:a16="http://schemas.microsoft.com/office/drawing/2014/main" id="{28C76032-64B2-43C6-A7C2-9452FC5361D6}"/>
              </a:ext>
            </a:extLst>
          </p:cNvPr>
          <p:cNvGrpSpPr/>
          <p:nvPr/>
        </p:nvGrpSpPr>
        <p:grpSpPr>
          <a:xfrm>
            <a:off x="4641367" y="1017899"/>
            <a:ext cx="751828" cy="743914"/>
            <a:chOff x="4641367" y="917315"/>
            <a:chExt cx="751828" cy="743914"/>
          </a:xfrm>
        </p:grpSpPr>
        <p:sp>
          <p:nvSpPr>
            <p:cNvPr id="39" name="Freeform: Shape 38">
              <a:extLst>
                <a:ext uri="{FF2B5EF4-FFF2-40B4-BE49-F238E27FC236}">
                  <a16:creationId xmlns:a16="http://schemas.microsoft.com/office/drawing/2014/main" id="{0F83B8F9-E847-4914-AD42-59CCA773E490}"/>
                </a:ext>
              </a:extLst>
            </p:cNvPr>
            <p:cNvSpPr/>
            <p:nvPr/>
          </p:nvSpPr>
          <p:spPr>
            <a:xfrm>
              <a:off x="4641367" y="917315"/>
              <a:ext cx="751828" cy="743914"/>
            </a:xfrm>
            <a:custGeom>
              <a:avLst/>
              <a:gdLst>
                <a:gd name="connsiteX0" fmla="*/ -621 w 751828"/>
                <a:gd name="connsiteY0" fmla="*/ 371832 h 743914"/>
                <a:gd name="connsiteX1" fmla="*/ 375293 w 751828"/>
                <a:gd name="connsiteY1" fmla="*/ -125 h 743914"/>
                <a:gd name="connsiteX2" fmla="*/ 751207 w 751828"/>
                <a:gd name="connsiteY2" fmla="*/ 371832 h 743914"/>
                <a:gd name="connsiteX3" fmla="*/ 375293 w 751828"/>
                <a:gd name="connsiteY3" fmla="*/ 743790 h 743914"/>
                <a:gd name="connsiteX4" fmla="*/ -621 w 751828"/>
                <a:gd name="connsiteY4" fmla="*/ 371832 h 74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43914">
                  <a:moveTo>
                    <a:pt x="-621" y="371832"/>
                  </a:moveTo>
                  <a:cubicBezTo>
                    <a:pt x="-621" y="166409"/>
                    <a:pt x="167678" y="-125"/>
                    <a:pt x="375293" y="-125"/>
                  </a:cubicBezTo>
                  <a:cubicBezTo>
                    <a:pt x="582909" y="-125"/>
                    <a:pt x="751207" y="166409"/>
                    <a:pt x="751207" y="371832"/>
                  </a:cubicBezTo>
                  <a:cubicBezTo>
                    <a:pt x="751207" y="577256"/>
                    <a:pt x="582909" y="743790"/>
                    <a:pt x="375293" y="743790"/>
                  </a:cubicBezTo>
                  <a:cubicBezTo>
                    <a:pt x="167678" y="743790"/>
                    <a:pt x="-621" y="577256"/>
                    <a:pt x="-621" y="371832"/>
                  </a:cubicBezTo>
                  <a:close/>
                </a:path>
              </a:pathLst>
            </a:custGeom>
            <a:solidFill>
              <a:srgbClr val="9BF00B"/>
            </a:solidFill>
            <a:ln w="7849" cap="flat">
              <a:noFill/>
              <a:prstDash val="solid"/>
              <a:miter/>
            </a:ln>
          </p:spPr>
          <p:txBody>
            <a:bodyPr rtlCol="0" anchor="ctr"/>
            <a:lstStyle/>
            <a:p>
              <a:endParaRPr lang="en-US"/>
            </a:p>
          </p:txBody>
        </p:sp>
        <p:sp>
          <p:nvSpPr>
            <p:cNvPr id="40" name="TextBox 39">
              <a:extLst>
                <a:ext uri="{FF2B5EF4-FFF2-40B4-BE49-F238E27FC236}">
                  <a16:creationId xmlns:a16="http://schemas.microsoft.com/office/drawing/2014/main" id="{B18FF949-DDA9-4A4C-9608-624A18179560}"/>
                </a:ext>
              </a:extLst>
            </p:cNvPr>
            <p:cNvSpPr txBox="1"/>
            <p:nvPr/>
          </p:nvSpPr>
          <p:spPr>
            <a:xfrm>
              <a:off x="4877942" y="1039776"/>
              <a:ext cx="275717" cy="517899"/>
            </a:xfrm>
            <a:prstGeom prst="rect">
              <a:avLst/>
            </a:prstGeom>
            <a:noFill/>
          </p:spPr>
          <p:txBody>
            <a:bodyPr wrap="none" lIns="0" tIns="0" rIns="0" bIns="0" rtlCol="0">
              <a:spAutoFit/>
            </a:bodyPr>
            <a:lstStyle/>
            <a:p>
              <a:pPr algn="ctr">
                <a:lnSpc>
                  <a:spcPct val="90000"/>
                </a:lnSpc>
                <a:spcAft>
                  <a:spcPts val="600"/>
                </a:spcAft>
              </a:pPr>
              <a:r>
                <a:rPr lang="en-US" sz="3739" b="1" spc="0" baseline="0" err="1">
                  <a:solidFill>
                    <a:srgbClr val="FFFFFF"/>
                  </a:solidFill>
                  <a:latin typeface="Segoe UI"/>
                  <a:cs typeface="Segoe UI"/>
                  <a:sym typeface="Segoe UI"/>
                  <a:rtl val="0"/>
                </a:rPr>
                <a:t>1</a:t>
              </a:r>
            </a:p>
          </p:txBody>
        </p:sp>
      </p:grpSp>
    </p:spTree>
    <p:extLst>
      <p:ext uri="{BB962C8B-B14F-4D97-AF65-F5344CB8AC3E}">
        <p14:creationId xmlns:p14="http://schemas.microsoft.com/office/powerpoint/2010/main" val="286023612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426424" y="1460500"/>
            <a:ext cx="11321076" cy="5041900"/>
          </a:xfrm>
        </p:spPr>
        <p:txBody>
          <a:bodyPr/>
          <a:lstStyle>
            <a:lvl2pPr marL="509847" indent="-285750">
              <a:buSzPct val="100000"/>
              <a:buFont typeface="Arial" panose="020B0604020202020204" pitchFamily="34" charset="0"/>
              <a:buChar char="•"/>
              <a:defRPr/>
            </a:lvl2pPr>
            <a:lvl3pPr marL="733943" indent="-285750">
              <a:buSzPct val="100000"/>
              <a:buFont typeface="Arial" panose="020B0604020202020204" pitchFamily="34" charset="0"/>
              <a:buChar char="–"/>
              <a:defRPr/>
            </a:lvl3pPr>
            <a:lvl4pPr marL="958040" indent="-285750">
              <a:buSzPct val="100000"/>
              <a:buFont typeface="Wingdings" panose="05000000000000000000" pitchFamily="2" charset="2"/>
              <a:buChar char="§"/>
              <a:defRPr/>
            </a:lvl4pPr>
            <a:lvl5pPr marL="1182136" indent="-28575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1969949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3751381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solidFill>
                  <a:sysClr val="windowText" lastClr="000000"/>
                </a:solidFill>
              </a:defRPr>
            </a:lvl1pPr>
          </a:lstStyle>
          <a:p>
            <a:r>
              <a:rPr lang="en-US"/>
              <a:t>Click to edit Master title style</a:t>
            </a:r>
          </a:p>
        </p:txBody>
      </p:sp>
    </p:spTree>
    <p:extLst>
      <p:ext uri="{BB962C8B-B14F-4D97-AF65-F5344CB8AC3E}">
        <p14:creationId xmlns:p14="http://schemas.microsoft.com/office/powerpoint/2010/main" val="422284733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Subtitl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BBC19DE9-B360-44AA-A772-92E46FF5FDBE}"/>
              </a:ext>
            </a:extLst>
          </p:cNvPr>
          <p:cNvSpPr>
            <a:spLocks noGrp="1"/>
          </p:cNvSpPr>
          <p:nvPr>
            <p:ph type="body" sz="quarter" idx="10" hasCustomPrompt="1"/>
          </p:nvPr>
        </p:nvSpPr>
        <p:spPr>
          <a:xfrm>
            <a:off x="419100" y="971550"/>
            <a:ext cx="11353800" cy="598488"/>
          </a:xfrm>
        </p:spPr>
        <p:txBody>
          <a:bodyPr/>
          <a:lstStyle>
            <a:lvl1pPr>
              <a:defRPr sz="2000"/>
            </a:lvl1pPr>
          </a:lstStyle>
          <a:p>
            <a:pPr lvl="0"/>
            <a:r>
              <a:rPr lang="en-US"/>
              <a:t>Subtitle</a:t>
            </a:r>
          </a:p>
        </p:txBody>
      </p:sp>
    </p:spTree>
    <p:extLst>
      <p:ext uri="{BB962C8B-B14F-4D97-AF65-F5344CB8AC3E}">
        <p14:creationId xmlns:p14="http://schemas.microsoft.com/office/powerpoint/2010/main" val="97751484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hoto Backgroud">
    <p:bg>
      <p:bgPr>
        <a:solidFill>
          <a:schemeClr val="bg1">
            <a:lumMod val="9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C802B4-648F-48DC-809F-9CA869D929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45719"/>
            <a:ext cx="12192000" cy="6223519"/>
          </a:xfrm>
          <a:custGeom>
            <a:avLst/>
            <a:gdLst>
              <a:gd name="connsiteX0" fmla="*/ 0 w 12192000"/>
              <a:gd name="connsiteY0" fmla="*/ 0 h 1683657"/>
              <a:gd name="connsiteX1" fmla="*/ 12192000 w 12192000"/>
              <a:gd name="connsiteY1" fmla="*/ 0 h 1683657"/>
              <a:gd name="connsiteX2" fmla="*/ 12192000 w 12192000"/>
              <a:gd name="connsiteY2" fmla="*/ 1683657 h 1683657"/>
              <a:gd name="connsiteX3" fmla="*/ 0 w 12192000"/>
              <a:gd name="connsiteY3" fmla="*/ 1683657 h 1683657"/>
            </a:gdLst>
            <a:ahLst/>
            <a:cxnLst>
              <a:cxn ang="0">
                <a:pos x="connsiteX0" y="connsiteY0"/>
              </a:cxn>
              <a:cxn ang="0">
                <a:pos x="connsiteX1" y="connsiteY1"/>
              </a:cxn>
              <a:cxn ang="0">
                <a:pos x="connsiteX2" y="connsiteY2"/>
              </a:cxn>
              <a:cxn ang="0">
                <a:pos x="connsiteX3" y="connsiteY3"/>
              </a:cxn>
            </a:cxnLst>
            <a:rect l="l" t="t" r="r" b="b"/>
            <a:pathLst>
              <a:path w="12192000" h="1683657">
                <a:moveTo>
                  <a:pt x="0" y="0"/>
                </a:moveTo>
                <a:lnTo>
                  <a:pt x="12192000" y="0"/>
                </a:lnTo>
                <a:lnTo>
                  <a:pt x="12192000" y="1683657"/>
                </a:lnTo>
                <a:lnTo>
                  <a:pt x="0" y="1683657"/>
                </a:lnTo>
                <a:close/>
              </a:path>
            </a:pathLst>
          </a:custGeom>
        </p:spPr>
      </p:pic>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BBC19DE9-B360-44AA-A772-92E46FF5FDBE}"/>
              </a:ext>
            </a:extLst>
          </p:cNvPr>
          <p:cNvSpPr>
            <a:spLocks noGrp="1"/>
          </p:cNvSpPr>
          <p:nvPr>
            <p:ph type="body" sz="quarter" idx="10" hasCustomPrompt="1"/>
          </p:nvPr>
        </p:nvSpPr>
        <p:spPr>
          <a:xfrm>
            <a:off x="419100" y="971550"/>
            <a:ext cx="11353800" cy="598488"/>
          </a:xfrm>
        </p:spPr>
        <p:txBody>
          <a:bodyPr/>
          <a:lstStyle>
            <a:lvl1pPr>
              <a:defRPr sz="2000"/>
            </a:lvl1pPr>
          </a:lstStyle>
          <a:p>
            <a:pPr lvl="0"/>
            <a:r>
              <a:rPr lang="en-US"/>
              <a:t>Subtitle</a:t>
            </a:r>
          </a:p>
        </p:txBody>
      </p:sp>
      <p:sp>
        <p:nvSpPr>
          <p:cNvPr id="3" name="Rectangle 2">
            <a:extLst>
              <a:ext uri="{FF2B5EF4-FFF2-40B4-BE49-F238E27FC236}">
                <a16:creationId xmlns:a16="http://schemas.microsoft.com/office/drawing/2014/main" id="{C7A97D39-E85A-473E-A209-25B8CE15BE4B}"/>
              </a:ext>
            </a:extLst>
          </p:cNvPr>
          <p:cNvSpPr/>
          <p:nvPr/>
        </p:nvSpPr>
        <p:spPr bwMode="auto">
          <a:xfrm>
            <a:off x="0" y="-1"/>
            <a:ext cx="12192000" cy="6223519"/>
          </a:xfrm>
          <a:prstGeom prst="rect">
            <a:avLst/>
          </a:prstGeom>
          <a:solidFill>
            <a:schemeClr val="tx1">
              <a:alpha val="7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IN"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9634906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9839839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2205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two columns">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426424" y="1460500"/>
            <a:ext cx="5567976" cy="5041900"/>
          </a:xfrm>
        </p:spPr>
        <p:txBody>
          <a:bodyPr/>
          <a:lstStyle>
            <a:lvl2pPr marL="509847" indent="-285750">
              <a:buSzPct val="100000"/>
              <a:buFont typeface="Arial" panose="020B0604020202020204" pitchFamily="34" charset="0"/>
              <a:buChar char="•"/>
              <a:defRPr/>
            </a:lvl2pPr>
            <a:lvl3pPr marL="733943" indent="-285750">
              <a:buSzPct val="100000"/>
              <a:buFont typeface="Arial" panose="020B0604020202020204" pitchFamily="34" charset="0"/>
              <a:buChar char="–"/>
              <a:defRPr/>
            </a:lvl3pPr>
            <a:lvl4pPr marL="958040" indent="-285750">
              <a:buSzPct val="100000"/>
              <a:buFont typeface="Wingdings" panose="05000000000000000000" pitchFamily="2" charset="2"/>
              <a:buChar char="§"/>
              <a:defRPr/>
            </a:lvl4pPr>
            <a:lvl5pPr marL="1182136" indent="-28575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5" name="Text Placeholder 6">
            <a:extLst>
              <a:ext uri="{FF2B5EF4-FFF2-40B4-BE49-F238E27FC236}">
                <a16:creationId xmlns:a16="http://schemas.microsoft.com/office/drawing/2014/main" id="{20A70CEA-7142-46F0-B432-B055AD568A96}"/>
              </a:ext>
            </a:extLst>
          </p:cNvPr>
          <p:cNvSpPr>
            <a:spLocks noGrp="1"/>
          </p:cNvSpPr>
          <p:nvPr>
            <p:ph type="body" sz="quarter" idx="11"/>
          </p:nvPr>
        </p:nvSpPr>
        <p:spPr>
          <a:xfrm>
            <a:off x="6204924" y="1460500"/>
            <a:ext cx="5567976" cy="5041900"/>
          </a:xfrm>
        </p:spPr>
        <p:txBody>
          <a:bodyPr/>
          <a:lstStyle>
            <a:lvl2pPr marL="509847" indent="-285750">
              <a:buSzPct val="100000"/>
              <a:buFont typeface="Arial" panose="020B0604020202020204" pitchFamily="34" charset="0"/>
              <a:buChar char="•"/>
              <a:defRPr/>
            </a:lvl2pPr>
            <a:lvl3pPr marL="733943" indent="-285750">
              <a:buSzPct val="100000"/>
              <a:buFont typeface="Arial" panose="020B0604020202020204" pitchFamily="34" charset="0"/>
              <a:buChar char="–"/>
              <a:defRPr/>
            </a:lvl3pPr>
            <a:lvl4pPr marL="958040" indent="-285750">
              <a:buSzPct val="100000"/>
              <a:buFont typeface="Wingdings" panose="05000000000000000000" pitchFamily="2" charset="2"/>
              <a:buChar char="§"/>
              <a:defRPr/>
            </a:lvl4pPr>
            <a:lvl5pPr marL="1182136" indent="-28575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0901056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two columns">
    <p:bg>
      <p:bgPr>
        <a:solidFill>
          <a:schemeClr val="bg1">
            <a:lumMod val="95000"/>
          </a:schemeClr>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426424" y="2178050"/>
            <a:ext cx="5567976" cy="4324350"/>
          </a:xfrm>
          <a:ln w="6350">
            <a:solidFill>
              <a:schemeClr val="bg1">
                <a:lumMod val="75000"/>
              </a:schemeClr>
            </a:solidFill>
          </a:ln>
        </p:spPr>
        <p:txBody>
          <a:bodyPr lIns="91440" tIns="45720" rIns="91440" bIns="45720"/>
          <a:lstStyle>
            <a:lvl1pPr>
              <a:defRPr sz="1800"/>
            </a:lvl1pPr>
            <a:lvl2pPr marL="509847" indent="-285750">
              <a:buSzPct val="100000"/>
              <a:buFont typeface="Arial" panose="020B0604020202020204" pitchFamily="34" charset="0"/>
              <a:buChar char="•"/>
              <a:defRPr sz="1400"/>
            </a:lvl2pPr>
            <a:lvl3pPr marL="733943" indent="-285750">
              <a:buSzPct val="100000"/>
              <a:buFont typeface="Arial" panose="020B0604020202020204" pitchFamily="34" charset="0"/>
              <a:buChar char="–"/>
              <a:defRPr sz="1100"/>
            </a:lvl3pPr>
            <a:lvl4pPr marL="958040" indent="-285750">
              <a:buSzPct val="100000"/>
              <a:buFont typeface="Wingdings" panose="05000000000000000000" pitchFamily="2" charset="2"/>
              <a:buChar char="§"/>
              <a:defRPr sz="1100"/>
            </a:lvl4pPr>
            <a:lvl5pPr marL="1182136" indent="-285750">
              <a:buSzPct val="100000"/>
              <a:buFont typeface="Arial" panose="020B0604020202020204" pitchFamily="34" charset="0"/>
              <a:buChar char="•"/>
              <a:defRPr sz="1100"/>
            </a:lvl5pPr>
          </a:lstStyle>
          <a:p>
            <a:pPr lvl="0"/>
            <a:r>
              <a:rPr lang="en-US"/>
              <a:t>Click to edit Master text styles</a:t>
            </a:r>
          </a:p>
        </p:txBody>
      </p:sp>
      <p:sp>
        <p:nvSpPr>
          <p:cNvPr id="5" name="Text Placeholder 6">
            <a:extLst>
              <a:ext uri="{FF2B5EF4-FFF2-40B4-BE49-F238E27FC236}">
                <a16:creationId xmlns:a16="http://schemas.microsoft.com/office/drawing/2014/main" id="{20A70CEA-7142-46F0-B432-B055AD568A96}"/>
              </a:ext>
            </a:extLst>
          </p:cNvPr>
          <p:cNvSpPr>
            <a:spLocks noGrp="1"/>
          </p:cNvSpPr>
          <p:nvPr>
            <p:ph type="body" sz="quarter" idx="11"/>
          </p:nvPr>
        </p:nvSpPr>
        <p:spPr>
          <a:xfrm>
            <a:off x="6204924" y="2178050"/>
            <a:ext cx="5567976" cy="4324350"/>
          </a:xfrm>
          <a:ln w="6350">
            <a:solidFill>
              <a:schemeClr val="bg1">
                <a:lumMod val="75000"/>
              </a:schemeClr>
            </a:solidFill>
          </a:ln>
        </p:spPr>
        <p:txBody>
          <a:bodyPr lIns="91440" tIns="45720" rIns="91440" bIns="45720"/>
          <a:lstStyle>
            <a:lvl1pPr>
              <a:defRPr sz="1800"/>
            </a:lvl1pPr>
            <a:lvl2pPr marL="509847" indent="-285750">
              <a:buSzPct val="100000"/>
              <a:buFont typeface="Arial" panose="020B0604020202020204" pitchFamily="34" charset="0"/>
              <a:buChar char="•"/>
              <a:defRPr sz="1400"/>
            </a:lvl2pPr>
            <a:lvl3pPr marL="733943" indent="-285750">
              <a:buSzPct val="100000"/>
              <a:buFont typeface="Arial" panose="020B0604020202020204" pitchFamily="34" charset="0"/>
              <a:buChar char="–"/>
              <a:defRPr sz="1100"/>
            </a:lvl3pPr>
            <a:lvl4pPr marL="958040" indent="-285750">
              <a:buSzPct val="100000"/>
              <a:buFont typeface="Wingdings" panose="05000000000000000000" pitchFamily="2" charset="2"/>
              <a:buChar char="§"/>
              <a:defRPr sz="1100"/>
            </a:lvl4pPr>
            <a:lvl5pPr marL="1182136" indent="-285750">
              <a:buSzPct val="100000"/>
              <a:buFont typeface="Arial" panose="020B0604020202020204" pitchFamily="34" charset="0"/>
              <a:buChar char="•"/>
              <a:defRPr sz="1100"/>
            </a:lvl5pPr>
          </a:lstStyle>
          <a:p>
            <a:pPr lvl="0"/>
            <a:r>
              <a:rPr lang="en-US"/>
              <a:t>Click to edit Master text styles</a:t>
            </a:r>
          </a:p>
        </p:txBody>
      </p:sp>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 name="Text Placeholder 6">
            <a:extLst>
              <a:ext uri="{FF2B5EF4-FFF2-40B4-BE49-F238E27FC236}">
                <a16:creationId xmlns:a16="http://schemas.microsoft.com/office/drawing/2014/main" id="{730258F3-7A5F-4FFB-8667-C5DA4058E963}"/>
              </a:ext>
            </a:extLst>
          </p:cNvPr>
          <p:cNvSpPr>
            <a:spLocks noGrp="1"/>
          </p:cNvSpPr>
          <p:nvPr>
            <p:ph type="body" sz="quarter" idx="12" hasCustomPrompt="1"/>
          </p:nvPr>
        </p:nvSpPr>
        <p:spPr>
          <a:xfrm>
            <a:off x="426424" y="1454150"/>
            <a:ext cx="5567976" cy="723900"/>
          </a:xfrm>
          <a:solidFill>
            <a:schemeClr val="accent2"/>
          </a:solidFill>
          <a:ln w="6350">
            <a:solidFill>
              <a:schemeClr val="accent2"/>
            </a:solidFill>
          </a:ln>
        </p:spPr>
        <p:txBody>
          <a:bodyPr lIns="91440" tIns="45720" rIns="91440" bIns="45720" anchor="ctr"/>
          <a:lstStyle>
            <a:lvl1pPr>
              <a:defRPr>
                <a:solidFill>
                  <a:schemeClr val="bg1"/>
                </a:solidFill>
                <a:latin typeface="+mj-lt"/>
              </a:defRPr>
            </a:lvl1pPr>
            <a:lvl2pPr marL="509847" indent="-285750">
              <a:buSzPct val="100000"/>
              <a:buFont typeface="Arial" panose="020B0604020202020204" pitchFamily="34" charset="0"/>
              <a:buChar char="•"/>
              <a:defRPr>
                <a:solidFill>
                  <a:schemeClr val="bg1"/>
                </a:solidFill>
              </a:defRPr>
            </a:lvl2pPr>
            <a:lvl3pPr marL="733943" indent="-285750">
              <a:buSzPct val="100000"/>
              <a:buFont typeface="Arial" panose="020B0604020202020204" pitchFamily="34" charset="0"/>
              <a:buChar char="–"/>
              <a:defRPr>
                <a:solidFill>
                  <a:schemeClr val="bg1"/>
                </a:solidFill>
              </a:defRPr>
            </a:lvl3pPr>
            <a:lvl4pPr marL="958040" indent="-285750">
              <a:buSzPct val="100000"/>
              <a:buFont typeface="Wingdings" panose="05000000000000000000" pitchFamily="2" charset="2"/>
              <a:buChar char="§"/>
              <a:defRPr>
                <a:solidFill>
                  <a:schemeClr val="bg1"/>
                </a:solidFill>
              </a:defRPr>
            </a:lvl4pPr>
            <a:lvl5pPr marL="1182136" indent="-285750">
              <a:buSzPct val="100000"/>
              <a:buFont typeface="Arial" panose="020B0604020202020204" pitchFamily="34" charset="0"/>
              <a:buChar char="•"/>
              <a:defRPr>
                <a:solidFill>
                  <a:schemeClr val="bg1"/>
                </a:solidFill>
              </a:defRPr>
            </a:lvl5pPr>
          </a:lstStyle>
          <a:p>
            <a:pPr lvl="0"/>
            <a:r>
              <a:rPr lang="en-US"/>
              <a:t>Heading goes here</a:t>
            </a:r>
          </a:p>
        </p:txBody>
      </p:sp>
      <p:sp>
        <p:nvSpPr>
          <p:cNvPr id="9" name="Text Placeholder 6">
            <a:extLst>
              <a:ext uri="{FF2B5EF4-FFF2-40B4-BE49-F238E27FC236}">
                <a16:creationId xmlns:a16="http://schemas.microsoft.com/office/drawing/2014/main" id="{D4F4AFD8-C02D-46F3-97CB-02FFA84E963F}"/>
              </a:ext>
            </a:extLst>
          </p:cNvPr>
          <p:cNvSpPr>
            <a:spLocks noGrp="1"/>
          </p:cNvSpPr>
          <p:nvPr>
            <p:ph type="body" sz="quarter" idx="13" hasCustomPrompt="1"/>
          </p:nvPr>
        </p:nvSpPr>
        <p:spPr>
          <a:xfrm>
            <a:off x="6204924" y="1454150"/>
            <a:ext cx="5567976" cy="723900"/>
          </a:xfrm>
          <a:solidFill>
            <a:schemeClr val="accent2"/>
          </a:solidFill>
          <a:ln w="6350">
            <a:solidFill>
              <a:schemeClr val="accent2"/>
            </a:solidFill>
          </a:ln>
        </p:spPr>
        <p:txBody>
          <a:bodyPr lIns="91440" tIns="45720" rIns="91440" bIns="45720" anchor="ctr"/>
          <a:lstStyle>
            <a:lvl1pPr>
              <a:defRPr>
                <a:solidFill>
                  <a:schemeClr val="bg1"/>
                </a:solidFill>
                <a:latin typeface="+mj-lt"/>
              </a:defRPr>
            </a:lvl1pPr>
            <a:lvl2pPr marL="509847" indent="-285750">
              <a:buSzPct val="100000"/>
              <a:buFont typeface="Arial" panose="020B0604020202020204" pitchFamily="34" charset="0"/>
              <a:buChar char="•"/>
              <a:defRPr>
                <a:solidFill>
                  <a:schemeClr val="bg1"/>
                </a:solidFill>
                <a:latin typeface="+mj-lt"/>
              </a:defRPr>
            </a:lvl2pPr>
            <a:lvl3pPr marL="733943" indent="-285750">
              <a:buSzPct val="100000"/>
              <a:buFont typeface="Arial" panose="020B0604020202020204" pitchFamily="34" charset="0"/>
              <a:buChar char="–"/>
              <a:defRPr>
                <a:solidFill>
                  <a:schemeClr val="bg1"/>
                </a:solidFill>
                <a:latin typeface="+mj-lt"/>
              </a:defRPr>
            </a:lvl3pPr>
            <a:lvl4pPr marL="958040" indent="-285750">
              <a:buSzPct val="100000"/>
              <a:buFont typeface="Wingdings" panose="05000000000000000000" pitchFamily="2" charset="2"/>
              <a:buChar char="§"/>
              <a:defRPr>
                <a:solidFill>
                  <a:schemeClr val="bg1"/>
                </a:solidFill>
                <a:latin typeface="+mj-lt"/>
              </a:defRPr>
            </a:lvl4pPr>
            <a:lvl5pPr marL="1182136" indent="-285750">
              <a:buSzPct val="100000"/>
              <a:buFont typeface="Arial" panose="020B0604020202020204" pitchFamily="34" charset="0"/>
              <a:buChar char="•"/>
              <a:defRPr>
                <a:solidFill>
                  <a:schemeClr val="bg1"/>
                </a:solidFill>
                <a:latin typeface="+mj-lt"/>
              </a:defRPr>
            </a:lvl5pPr>
          </a:lstStyle>
          <a:p>
            <a:pPr lvl="0"/>
            <a:r>
              <a:rPr lang="en-US"/>
              <a:t>Heading goes here</a:t>
            </a:r>
          </a:p>
        </p:txBody>
      </p:sp>
    </p:spTree>
    <p:extLst>
      <p:ext uri="{BB962C8B-B14F-4D97-AF65-F5344CB8AC3E}">
        <p14:creationId xmlns:p14="http://schemas.microsoft.com/office/powerpoint/2010/main" val="102085019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3 columns bulleted text ">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711D3AE6-CECF-456A-8FED-AAC713610031}"/>
              </a:ext>
            </a:extLst>
          </p:cNvPr>
          <p:cNvSpPr/>
          <p:nvPr/>
        </p:nvSpPr>
        <p:spPr bwMode="auto">
          <a:xfrm>
            <a:off x="0" y="1409028"/>
            <a:ext cx="12192000" cy="1360803"/>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7" name="Text Placeholder 5">
            <a:extLst>
              <a:ext uri="{FF2B5EF4-FFF2-40B4-BE49-F238E27FC236}">
                <a16:creationId xmlns:a16="http://schemas.microsoft.com/office/drawing/2014/main" id="{10C04D89-B60B-4299-B458-B215686307BF}"/>
              </a:ext>
            </a:extLst>
          </p:cNvPr>
          <p:cNvSpPr>
            <a:spLocks noGrp="1"/>
          </p:cNvSpPr>
          <p:nvPr>
            <p:ph type="body" sz="quarter" idx="12" hasCustomPrompt="1"/>
          </p:nvPr>
        </p:nvSpPr>
        <p:spPr>
          <a:xfrm>
            <a:off x="419100" y="1631395"/>
            <a:ext cx="3621087" cy="637712"/>
          </a:xfrm>
        </p:spPr>
        <p:txBody>
          <a:bodyPr anchor="b"/>
          <a:lstStyle>
            <a:lvl1pPr>
              <a:defRPr sz="1800">
                <a:latin typeface="+mj-lt"/>
              </a:defRPr>
            </a:lvl1pPr>
          </a:lstStyle>
          <a:p>
            <a:pPr lvl="0"/>
            <a:r>
              <a:rPr lang="en-US"/>
              <a:t>Heading</a:t>
            </a:r>
          </a:p>
        </p:txBody>
      </p:sp>
      <p:sp>
        <p:nvSpPr>
          <p:cNvPr id="38" name="Text Placeholder 5">
            <a:extLst>
              <a:ext uri="{FF2B5EF4-FFF2-40B4-BE49-F238E27FC236}">
                <a16:creationId xmlns:a16="http://schemas.microsoft.com/office/drawing/2014/main" id="{021B6952-0338-434D-A51D-3F46920D5F89}"/>
              </a:ext>
            </a:extLst>
          </p:cNvPr>
          <p:cNvSpPr>
            <a:spLocks noGrp="1"/>
          </p:cNvSpPr>
          <p:nvPr>
            <p:ph type="body" sz="quarter" idx="13" hasCustomPrompt="1"/>
          </p:nvPr>
        </p:nvSpPr>
        <p:spPr>
          <a:xfrm>
            <a:off x="4294983" y="1631395"/>
            <a:ext cx="3621087" cy="637712"/>
          </a:xfrm>
        </p:spPr>
        <p:txBody>
          <a:bodyPr anchor="b"/>
          <a:lstStyle>
            <a:lvl1pPr>
              <a:defRPr sz="1800">
                <a:latin typeface="+mj-lt"/>
              </a:defRPr>
            </a:lvl1pPr>
          </a:lstStyle>
          <a:p>
            <a:pPr lvl="0"/>
            <a:r>
              <a:rPr lang="en-US"/>
              <a:t>Heading</a:t>
            </a:r>
          </a:p>
        </p:txBody>
      </p:sp>
      <p:sp>
        <p:nvSpPr>
          <p:cNvPr id="39" name="Text Placeholder 5">
            <a:extLst>
              <a:ext uri="{FF2B5EF4-FFF2-40B4-BE49-F238E27FC236}">
                <a16:creationId xmlns:a16="http://schemas.microsoft.com/office/drawing/2014/main" id="{E4B77E89-40A8-4081-ADA1-AB33C158E5C8}"/>
              </a:ext>
            </a:extLst>
          </p:cNvPr>
          <p:cNvSpPr>
            <a:spLocks noGrp="1"/>
          </p:cNvSpPr>
          <p:nvPr>
            <p:ph type="body" sz="quarter" idx="14" hasCustomPrompt="1"/>
          </p:nvPr>
        </p:nvSpPr>
        <p:spPr>
          <a:xfrm>
            <a:off x="8170866" y="1631395"/>
            <a:ext cx="3621087" cy="637712"/>
          </a:xfrm>
        </p:spPr>
        <p:txBody>
          <a:bodyPr anchor="b"/>
          <a:lstStyle>
            <a:lvl1pPr>
              <a:defRPr sz="1800">
                <a:latin typeface="+mj-lt"/>
              </a:defRPr>
            </a:lvl1pPr>
          </a:lstStyle>
          <a:p>
            <a:pPr lvl="0"/>
            <a:r>
              <a:rPr lang="en-US"/>
              <a:t>Heading</a:t>
            </a:r>
          </a:p>
        </p:txBody>
      </p:sp>
      <p:sp>
        <p:nvSpPr>
          <p:cNvPr id="40" name="Oval 39">
            <a:extLst>
              <a:ext uri="{FF2B5EF4-FFF2-40B4-BE49-F238E27FC236}">
                <a16:creationId xmlns:a16="http://schemas.microsoft.com/office/drawing/2014/main" id="{99EE5533-97B5-4D28-A867-CED7AF74D115}"/>
              </a:ext>
            </a:extLst>
          </p:cNvPr>
          <p:cNvSpPr/>
          <p:nvPr/>
        </p:nvSpPr>
        <p:spPr bwMode="auto">
          <a:xfrm>
            <a:off x="430974" y="2421507"/>
            <a:ext cx="696648" cy="69664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1" name="Oval 40">
            <a:extLst>
              <a:ext uri="{FF2B5EF4-FFF2-40B4-BE49-F238E27FC236}">
                <a16:creationId xmlns:a16="http://schemas.microsoft.com/office/drawing/2014/main" id="{EF2633D8-AF89-4634-BAF9-DF4EC8AB1AF6}"/>
              </a:ext>
            </a:extLst>
          </p:cNvPr>
          <p:cNvSpPr/>
          <p:nvPr/>
        </p:nvSpPr>
        <p:spPr bwMode="auto">
          <a:xfrm>
            <a:off x="4294983" y="2421507"/>
            <a:ext cx="696648" cy="69664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2" name="Oval 41">
            <a:extLst>
              <a:ext uri="{FF2B5EF4-FFF2-40B4-BE49-F238E27FC236}">
                <a16:creationId xmlns:a16="http://schemas.microsoft.com/office/drawing/2014/main" id="{A116A2E7-6AE6-424B-AF0D-BA2FBD3F5D11}"/>
              </a:ext>
            </a:extLst>
          </p:cNvPr>
          <p:cNvSpPr/>
          <p:nvPr/>
        </p:nvSpPr>
        <p:spPr bwMode="auto">
          <a:xfrm>
            <a:off x="8170866" y="2421507"/>
            <a:ext cx="696648" cy="69664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3" name="Arc 42">
            <a:extLst>
              <a:ext uri="{FF2B5EF4-FFF2-40B4-BE49-F238E27FC236}">
                <a16:creationId xmlns:a16="http://schemas.microsoft.com/office/drawing/2014/main" id="{A3C137A0-88BB-476E-93B4-7AE2B5E6D8EB}"/>
              </a:ext>
            </a:extLst>
          </p:cNvPr>
          <p:cNvSpPr/>
          <p:nvPr/>
        </p:nvSpPr>
        <p:spPr bwMode="auto">
          <a:xfrm>
            <a:off x="377304" y="2367837"/>
            <a:ext cx="803988" cy="803988"/>
          </a:xfrm>
          <a:prstGeom prst="arc">
            <a:avLst>
              <a:gd name="adj1" fmla="val 2048035"/>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6" name="Arc 45">
            <a:extLst>
              <a:ext uri="{FF2B5EF4-FFF2-40B4-BE49-F238E27FC236}">
                <a16:creationId xmlns:a16="http://schemas.microsoft.com/office/drawing/2014/main" id="{7FD6FF50-3C84-4645-8F6B-7AE613542C62}"/>
              </a:ext>
            </a:extLst>
          </p:cNvPr>
          <p:cNvSpPr/>
          <p:nvPr/>
        </p:nvSpPr>
        <p:spPr bwMode="auto">
          <a:xfrm>
            <a:off x="4237599" y="2367837"/>
            <a:ext cx="803988" cy="803988"/>
          </a:xfrm>
          <a:prstGeom prst="arc">
            <a:avLst>
              <a:gd name="adj1" fmla="val 2048035"/>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8" name="Arc 47">
            <a:extLst>
              <a:ext uri="{FF2B5EF4-FFF2-40B4-BE49-F238E27FC236}">
                <a16:creationId xmlns:a16="http://schemas.microsoft.com/office/drawing/2014/main" id="{8A750F57-718C-434B-AF9F-8D437AEE4E4A}"/>
              </a:ext>
            </a:extLst>
          </p:cNvPr>
          <p:cNvSpPr/>
          <p:nvPr/>
        </p:nvSpPr>
        <p:spPr bwMode="auto">
          <a:xfrm>
            <a:off x="8116795" y="2367837"/>
            <a:ext cx="803988" cy="803988"/>
          </a:xfrm>
          <a:prstGeom prst="arc">
            <a:avLst>
              <a:gd name="adj1" fmla="val 1937637"/>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44" name="Straight Connector 43">
            <a:extLst>
              <a:ext uri="{FF2B5EF4-FFF2-40B4-BE49-F238E27FC236}">
                <a16:creationId xmlns:a16="http://schemas.microsoft.com/office/drawing/2014/main" id="{88C3A763-EABD-420E-BE27-BAE61CBF71B2}"/>
              </a:ext>
            </a:extLst>
          </p:cNvPr>
          <p:cNvCxnSpPr>
            <a:cxnSpLocks/>
          </p:cNvCxnSpPr>
          <p:nvPr/>
        </p:nvCxnSpPr>
        <p:spPr>
          <a:xfrm>
            <a:off x="779298" y="3171825"/>
            <a:ext cx="0" cy="3379788"/>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47" name="Straight Connector 46">
            <a:extLst>
              <a:ext uri="{FF2B5EF4-FFF2-40B4-BE49-F238E27FC236}">
                <a16:creationId xmlns:a16="http://schemas.microsoft.com/office/drawing/2014/main" id="{B854DD33-883D-4FE2-A326-8B1B7FA3B946}"/>
              </a:ext>
            </a:extLst>
          </p:cNvPr>
          <p:cNvCxnSpPr>
            <a:cxnSpLocks/>
          </p:cNvCxnSpPr>
          <p:nvPr/>
        </p:nvCxnSpPr>
        <p:spPr>
          <a:xfrm>
            <a:off x="4639593" y="3171825"/>
            <a:ext cx="0" cy="3379788"/>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49" name="Straight Connector 48">
            <a:extLst>
              <a:ext uri="{FF2B5EF4-FFF2-40B4-BE49-F238E27FC236}">
                <a16:creationId xmlns:a16="http://schemas.microsoft.com/office/drawing/2014/main" id="{4FBA5912-A9B1-4959-B885-AE5CB060B074}"/>
              </a:ext>
            </a:extLst>
          </p:cNvPr>
          <p:cNvCxnSpPr>
            <a:cxnSpLocks/>
          </p:cNvCxnSpPr>
          <p:nvPr/>
        </p:nvCxnSpPr>
        <p:spPr>
          <a:xfrm>
            <a:off x="8518789" y="3171825"/>
            <a:ext cx="0" cy="3379788"/>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sp>
        <p:nvSpPr>
          <p:cNvPr id="52" name="Text Placeholder 51">
            <a:extLst>
              <a:ext uri="{FF2B5EF4-FFF2-40B4-BE49-F238E27FC236}">
                <a16:creationId xmlns:a16="http://schemas.microsoft.com/office/drawing/2014/main" id="{0BFDC496-E1E2-4EC1-9CD9-120698F97F17}"/>
              </a:ext>
            </a:extLst>
          </p:cNvPr>
          <p:cNvSpPr>
            <a:spLocks noGrp="1"/>
          </p:cNvSpPr>
          <p:nvPr>
            <p:ph type="body" sz="quarter" idx="15" hasCustomPrompt="1"/>
          </p:nvPr>
        </p:nvSpPr>
        <p:spPr>
          <a:xfrm>
            <a:off x="754063" y="3240736"/>
            <a:ext cx="3277895" cy="3261663"/>
          </a:xfrm>
        </p:spPr>
        <p:txBody>
          <a:bodyPr/>
          <a:lstStyle>
            <a:lvl1pPr marL="171450" marR="0" indent="-171450" algn="l" defTabSz="914367" rtl="0" eaLnBrk="1" fontAlgn="auto" latinLnBrk="0" hangingPunct="1">
              <a:lnSpc>
                <a:spcPct val="100000"/>
              </a:lnSpc>
              <a:spcBef>
                <a:spcPts val="1000"/>
              </a:spcBef>
              <a:spcAft>
                <a:spcPts val="0"/>
              </a:spcAft>
              <a:buClrTx/>
              <a:buSzPct val="90000"/>
              <a:buFont typeface="Arial" panose="020B0604020202020204" pitchFamily="34" charset="0"/>
              <a:buChar char="•"/>
              <a:tabLst/>
              <a:defRPr lang="en-US" sz="1200" kern="1200" spc="0" baseline="0" dirty="0" smtClean="0">
                <a:solidFill>
                  <a:schemeClr val="tx1"/>
                </a:solidFill>
                <a:latin typeface="+mn-lt"/>
                <a:ea typeface="+mn-ea"/>
                <a:cs typeface="+mn-cs"/>
              </a:defRPr>
            </a:lvl1pPr>
            <a:lvl2pPr marL="509847" indent="-285750">
              <a:buFont typeface="Arial" panose="020B0604020202020204" pitchFamily="34" charset="0"/>
              <a:buChar char="•"/>
              <a:defRPr/>
            </a:lvl2pPr>
            <a:lvl3pPr marL="733943" indent="-285750">
              <a:buFont typeface="Arial" panose="020B0604020202020204" pitchFamily="34" charset="0"/>
              <a:buChar char="•"/>
              <a:defRPr/>
            </a:lvl3pPr>
            <a:lvl4pPr marL="958040" indent="-285750">
              <a:buFont typeface="Arial" panose="020B0604020202020204" pitchFamily="34" charset="0"/>
              <a:buChar char="•"/>
              <a:defRPr/>
            </a:lvl4pPr>
            <a:lvl5pPr marL="1182136" indent="-285750">
              <a:buFont typeface="Arial" panose="020B0604020202020204" pitchFamily="34" charset="0"/>
              <a:buChar char="•"/>
              <a:defRPr/>
            </a:lvl5pPr>
          </a:lstStyle>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p:txBody>
      </p:sp>
      <p:sp>
        <p:nvSpPr>
          <p:cNvPr id="53" name="Text Placeholder 51">
            <a:extLst>
              <a:ext uri="{FF2B5EF4-FFF2-40B4-BE49-F238E27FC236}">
                <a16:creationId xmlns:a16="http://schemas.microsoft.com/office/drawing/2014/main" id="{CDE55F60-95DA-46FA-B39F-0AEE4B833172}"/>
              </a:ext>
            </a:extLst>
          </p:cNvPr>
          <p:cNvSpPr>
            <a:spLocks noGrp="1"/>
          </p:cNvSpPr>
          <p:nvPr>
            <p:ph type="body" sz="quarter" idx="16" hasCustomPrompt="1"/>
          </p:nvPr>
        </p:nvSpPr>
        <p:spPr>
          <a:xfrm>
            <a:off x="4618038" y="3240736"/>
            <a:ext cx="3277895" cy="3261663"/>
          </a:xfrm>
        </p:spPr>
        <p:txBody>
          <a:bodyPr/>
          <a:lstStyle>
            <a:lvl1pPr marL="171450" marR="0" indent="-171450" algn="l" defTabSz="914367" rtl="0" eaLnBrk="1" fontAlgn="auto" latinLnBrk="0" hangingPunct="1">
              <a:lnSpc>
                <a:spcPct val="100000"/>
              </a:lnSpc>
              <a:spcBef>
                <a:spcPts val="1000"/>
              </a:spcBef>
              <a:spcAft>
                <a:spcPts val="0"/>
              </a:spcAft>
              <a:buClrTx/>
              <a:buSzPct val="90000"/>
              <a:buFont typeface="Arial" panose="020B0604020202020204" pitchFamily="34" charset="0"/>
              <a:buChar char="•"/>
              <a:tabLst/>
              <a:defRPr lang="en-US" sz="1200" kern="1200" spc="0" baseline="0" dirty="0" smtClean="0">
                <a:solidFill>
                  <a:schemeClr val="tx1"/>
                </a:solidFill>
                <a:latin typeface="+mn-lt"/>
                <a:ea typeface="+mn-ea"/>
                <a:cs typeface="+mn-cs"/>
              </a:defRPr>
            </a:lvl1pPr>
            <a:lvl2pPr marL="509847" indent="-285750">
              <a:buFont typeface="Arial" panose="020B0604020202020204" pitchFamily="34" charset="0"/>
              <a:buChar char="•"/>
              <a:defRPr/>
            </a:lvl2pPr>
            <a:lvl3pPr marL="733943" indent="-285750">
              <a:buFont typeface="Arial" panose="020B0604020202020204" pitchFamily="34" charset="0"/>
              <a:buChar char="•"/>
              <a:defRPr/>
            </a:lvl3pPr>
            <a:lvl4pPr marL="958040" indent="-285750">
              <a:buFont typeface="Arial" panose="020B0604020202020204" pitchFamily="34" charset="0"/>
              <a:buChar char="•"/>
              <a:defRPr/>
            </a:lvl4pPr>
            <a:lvl5pPr marL="1182136" indent="-285750">
              <a:buFont typeface="Arial" panose="020B0604020202020204" pitchFamily="34" charset="0"/>
              <a:buChar char="•"/>
              <a:defRPr/>
            </a:lvl5pPr>
          </a:lstStyle>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p:txBody>
      </p:sp>
      <p:sp>
        <p:nvSpPr>
          <p:cNvPr id="54" name="Text Placeholder 51">
            <a:extLst>
              <a:ext uri="{FF2B5EF4-FFF2-40B4-BE49-F238E27FC236}">
                <a16:creationId xmlns:a16="http://schemas.microsoft.com/office/drawing/2014/main" id="{881B30AF-DFE6-433B-8D35-63BCA814A33E}"/>
              </a:ext>
            </a:extLst>
          </p:cNvPr>
          <p:cNvSpPr>
            <a:spLocks noGrp="1"/>
          </p:cNvSpPr>
          <p:nvPr>
            <p:ph type="body" sz="quarter" idx="17" hasCustomPrompt="1"/>
          </p:nvPr>
        </p:nvSpPr>
        <p:spPr>
          <a:xfrm>
            <a:off x="8495005" y="3240736"/>
            <a:ext cx="3277895" cy="3261663"/>
          </a:xfrm>
        </p:spPr>
        <p:txBody>
          <a:bodyPr/>
          <a:lstStyle>
            <a:lvl1pPr marL="171450" marR="0" indent="-171450" algn="l" defTabSz="914367" rtl="0" eaLnBrk="1" fontAlgn="auto" latinLnBrk="0" hangingPunct="1">
              <a:lnSpc>
                <a:spcPct val="100000"/>
              </a:lnSpc>
              <a:spcBef>
                <a:spcPts val="1000"/>
              </a:spcBef>
              <a:spcAft>
                <a:spcPts val="0"/>
              </a:spcAft>
              <a:buClrTx/>
              <a:buSzPct val="90000"/>
              <a:buFont typeface="Arial" panose="020B0604020202020204" pitchFamily="34" charset="0"/>
              <a:buChar char="•"/>
              <a:tabLst/>
              <a:defRPr lang="en-US" sz="1200" kern="1200" spc="0" baseline="0" dirty="0" smtClean="0">
                <a:solidFill>
                  <a:schemeClr val="tx1"/>
                </a:solidFill>
                <a:latin typeface="+mn-lt"/>
                <a:ea typeface="+mn-ea"/>
                <a:cs typeface="+mn-cs"/>
              </a:defRPr>
            </a:lvl1pPr>
            <a:lvl2pPr marL="509847" indent="-285750">
              <a:buFont typeface="Arial" panose="020B0604020202020204" pitchFamily="34" charset="0"/>
              <a:buChar char="•"/>
              <a:defRPr/>
            </a:lvl2pPr>
            <a:lvl3pPr marL="733943" indent="-285750">
              <a:buFont typeface="Arial" panose="020B0604020202020204" pitchFamily="34" charset="0"/>
              <a:buChar char="•"/>
              <a:defRPr/>
            </a:lvl3pPr>
            <a:lvl4pPr marL="958040" indent="-285750">
              <a:buFont typeface="Arial" panose="020B0604020202020204" pitchFamily="34" charset="0"/>
              <a:buChar char="•"/>
              <a:defRPr/>
            </a:lvl4pPr>
            <a:lvl5pPr marL="1182136" indent="-285750">
              <a:buFont typeface="Arial" panose="020B0604020202020204" pitchFamily="34" charset="0"/>
              <a:buChar char="•"/>
              <a:defRPr/>
            </a:lvl5pPr>
          </a:lstStyle>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a:p>
            <a:pPr marL="180975" marR="0" lvl="0" indent="-180975" algn="l" defTabSz="914367" rtl="0" eaLnBrk="1" fontAlgn="auto" latinLnBrk="0" hangingPunct="1">
              <a:lnSpc>
                <a:spcPct val="100000"/>
              </a:lnSpc>
              <a:spcBef>
                <a:spcPts val="1200"/>
              </a:spcBef>
              <a:spcAft>
                <a:spcPts val="0"/>
              </a:spcAft>
              <a:buClrTx/>
              <a:buSzPct val="90000"/>
              <a:buFont typeface="Arial" panose="020B0604020202020204" pitchFamily="34" charset="0"/>
              <a:buChar char="•"/>
              <a:tabLst/>
              <a:defRPr/>
            </a:pPr>
            <a:r>
              <a:rPr lang="en-US"/>
              <a:t>Bulleted text</a:t>
            </a:r>
          </a:p>
        </p:txBody>
      </p:sp>
      <p:sp>
        <p:nvSpPr>
          <p:cNvPr id="58" name="Picture Placeholder 57">
            <a:extLst>
              <a:ext uri="{FF2B5EF4-FFF2-40B4-BE49-F238E27FC236}">
                <a16:creationId xmlns:a16="http://schemas.microsoft.com/office/drawing/2014/main" id="{F2A6D852-9482-4663-90C1-94569CC86F70}"/>
              </a:ext>
            </a:extLst>
          </p:cNvPr>
          <p:cNvSpPr>
            <a:spLocks noGrp="1"/>
          </p:cNvSpPr>
          <p:nvPr>
            <p:ph type="pic" sz="quarter" idx="18" hasCustomPrompt="1"/>
          </p:nvPr>
        </p:nvSpPr>
        <p:spPr>
          <a:xfrm>
            <a:off x="532383" y="2523891"/>
            <a:ext cx="495534" cy="495534"/>
          </a:xfrm>
          <a:prstGeom prst="ellipse">
            <a:avLst/>
          </a:prstGeom>
        </p:spPr>
        <p:txBody>
          <a:bodyPr anchor="ctr">
            <a:normAutofit/>
          </a:bodyPr>
          <a:lstStyle>
            <a:lvl1pPr algn="ctr">
              <a:defRPr sz="1100">
                <a:solidFill>
                  <a:schemeClr val="bg1"/>
                </a:solidFill>
              </a:defRPr>
            </a:lvl1pPr>
          </a:lstStyle>
          <a:p>
            <a:r>
              <a:rPr lang="en-US"/>
              <a:t>Icon</a:t>
            </a:r>
          </a:p>
        </p:txBody>
      </p:sp>
      <p:sp>
        <p:nvSpPr>
          <p:cNvPr id="59" name="Picture Placeholder 57">
            <a:extLst>
              <a:ext uri="{FF2B5EF4-FFF2-40B4-BE49-F238E27FC236}">
                <a16:creationId xmlns:a16="http://schemas.microsoft.com/office/drawing/2014/main" id="{DA670B3E-761D-4682-A01E-198DE9275116}"/>
              </a:ext>
            </a:extLst>
          </p:cNvPr>
          <p:cNvSpPr>
            <a:spLocks noGrp="1"/>
          </p:cNvSpPr>
          <p:nvPr>
            <p:ph type="pic" sz="quarter" idx="19" hasCustomPrompt="1"/>
          </p:nvPr>
        </p:nvSpPr>
        <p:spPr>
          <a:xfrm>
            <a:off x="4391826" y="2523891"/>
            <a:ext cx="495534" cy="495534"/>
          </a:xfrm>
          <a:prstGeom prst="ellipse">
            <a:avLst/>
          </a:prstGeom>
        </p:spPr>
        <p:txBody>
          <a:bodyPr anchor="ctr">
            <a:normAutofit/>
          </a:bodyPr>
          <a:lstStyle>
            <a:lvl1pPr algn="ctr">
              <a:defRPr sz="1100">
                <a:solidFill>
                  <a:schemeClr val="bg1"/>
                </a:solidFill>
              </a:defRPr>
            </a:lvl1pPr>
          </a:lstStyle>
          <a:p>
            <a:r>
              <a:rPr lang="en-US"/>
              <a:t>Icon</a:t>
            </a:r>
          </a:p>
        </p:txBody>
      </p:sp>
      <p:sp>
        <p:nvSpPr>
          <p:cNvPr id="60" name="Picture Placeholder 57">
            <a:extLst>
              <a:ext uri="{FF2B5EF4-FFF2-40B4-BE49-F238E27FC236}">
                <a16:creationId xmlns:a16="http://schemas.microsoft.com/office/drawing/2014/main" id="{FCC7D700-CC36-4D6D-A46C-6CD489D85832}"/>
              </a:ext>
            </a:extLst>
          </p:cNvPr>
          <p:cNvSpPr>
            <a:spLocks noGrp="1"/>
          </p:cNvSpPr>
          <p:nvPr>
            <p:ph type="pic" sz="quarter" idx="20" hasCustomPrompt="1"/>
          </p:nvPr>
        </p:nvSpPr>
        <p:spPr>
          <a:xfrm>
            <a:off x="8272275" y="2523891"/>
            <a:ext cx="495534" cy="495534"/>
          </a:xfrm>
          <a:prstGeom prst="ellipse">
            <a:avLst/>
          </a:prstGeom>
        </p:spPr>
        <p:txBody>
          <a:bodyPr anchor="ctr">
            <a:normAutofit/>
          </a:bodyPr>
          <a:lstStyle>
            <a:lvl1pPr algn="ctr">
              <a:defRPr sz="1100">
                <a:solidFill>
                  <a:schemeClr val="bg1"/>
                </a:solidFill>
              </a:defRPr>
            </a:lvl1pPr>
          </a:lstStyle>
          <a:p>
            <a:r>
              <a:rPr lang="en-US"/>
              <a:t>Icon</a:t>
            </a:r>
          </a:p>
        </p:txBody>
      </p:sp>
    </p:spTree>
    <p:extLst>
      <p:ext uri="{BB962C8B-B14F-4D97-AF65-F5344CB8AC3E}">
        <p14:creationId xmlns:p14="http://schemas.microsoft.com/office/powerpoint/2010/main" val="34751818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 rows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19" name="Straight Connector 18">
            <a:extLst>
              <a:ext uri="{FF2B5EF4-FFF2-40B4-BE49-F238E27FC236}">
                <a16:creationId xmlns:a16="http://schemas.microsoft.com/office/drawing/2014/main" id="{D885B683-3851-4EA2-A530-F272571CF143}"/>
              </a:ext>
              <a:ext uri="{C183D7F6-B498-43B3-948B-1728B52AA6E4}">
                <adec:decorative xmlns:adec="http://schemas.microsoft.com/office/drawing/2017/decorative" val="1"/>
              </a:ext>
            </a:extLst>
          </p:cNvPr>
          <p:cNvCxnSpPr>
            <a:cxnSpLocks/>
          </p:cNvCxnSpPr>
          <p:nvPr/>
        </p:nvCxnSpPr>
        <p:spPr>
          <a:xfrm>
            <a:off x="426542" y="3138479"/>
            <a:ext cx="7382190"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43EBC1A-32F7-42DB-9394-DF8096977275}"/>
              </a:ext>
              <a:ext uri="{C183D7F6-B498-43B3-948B-1728B52AA6E4}">
                <adec:decorative xmlns:adec="http://schemas.microsoft.com/office/drawing/2017/decorative" val="1"/>
              </a:ext>
            </a:extLst>
          </p:cNvPr>
          <p:cNvCxnSpPr>
            <a:cxnSpLocks/>
          </p:cNvCxnSpPr>
          <p:nvPr/>
        </p:nvCxnSpPr>
        <p:spPr>
          <a:xfrm>
            <a:off x="426542" y="4819578"/>
            <a:ext cx="7382190"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ACE7F5B-8DE5-4223-9766-857A6A5E9C2B}"/>
              </a:ext>
              <a:ext uri="{C183D7F6-B498-43B3-948B-1728B52AA6E4}">
                <adec:decorative xmlns:adec="http://schemas.microsoft.com/office/drawing/2017/decorative" val="1"/>
              </a:ext>
            </a:extLst>
          </p:cNvPr>
          <p:cNvCxnSpPr>
            <a:cxnSpLocks/>
          </p:cNvCxnSpPr>
          <p:nvPr/>
        </p:nvCxnSpPr>
        <p:spPr>
          <a:xfrm>
            <a:off x="426542" y="1457380"/>
            <a:ext cx="7382190"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Picture Placeholder 5">
            <a:extLst>
              <a:ext uri="{FF2B5EF4-FFF2-40B4-BE49-F238E27FC236}">
                <a16:creationId xmlns:a16="http://schemas.microsoft.com/office/drawing/2014/main" id="{A3ADFEAB-4EB1-4C45-A7E3-143DA4490402}"/>
              </a:ext>
            </a:extLst>
          </p:cNvPr>
          <p:cNvSpPr>
            <a:spLocks noGrp="1"/>
          </p:cNvSpPr>
          <p:nvPr>
            <p:ph type="pic" sz="quarter" idx="10" hasCustomPrompt="1"/>
          </p:nvPr>
        </p:nvSpPr>
        <p:spPr>
          <a:xfrm>
            <a:off x="8305800" y="1460500"/>
            <a:ext cx="3454400" cy="4845933"/>
          </a:xfr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marL="0" indent="0" algn="ctr">
              <a:buNone/>
              <a:defRPr lang="en-IN" sz="1800" b="0">
                <a:solidFill>
                  <a:schemeClr val="tx2"/>
                </a:solidFill>
                <a:effectLst/>
                <a:latin typeface="Segoe UI" panose="020B0502040204020203" pitchFamily="34" charset="0"/>
                <a:ea typeface="Times New Roman" panose="02020603050405020304" pitchFamily="18" charset="0"/>
                <a:cs typeface="Times New Roman" panose="02020603050405020304" pitchFamily="18" charset="0"/>
              </a:defRPr>
            </a:lvl1pPr>
          </a:lstStyle>
          <a:p>
            <a:pPr marL="285750" lvl="0" indent="-285750" defTabSz="914400">
              <a:lnSpc>
                <a:spcPct val="107000"/>
              </a:lnSpc>
              <a:spcBef>
                <a:spcPts val="0"/>
              </a:spcBef>
              <a:spcAft>
                <a:spcPts val="800"/>
              </a:spcAft>
              <a:buFont typeface="Arial" panose="020B0604020202020204" pitchFamily="34" charset="0"/>
              <a:buChar char="•"/>
            </a:pPr>
            <a:r>
              <a:rPr lang="en-US"/>
              <a:t>Insert image here</a:t>
            </a:r>
            <a:endParaRPr lang="en-IN"/>
          </a:p>
        </p:txBody>
      </p:sp>
      <p:sp>
        <p:nvSpPr>
          <p:cNvPr id="4" name="Text Placeholder 3">
            <a:extLst>
              <a:ext uri="{FF2B5EF4-FFF2-40B4-BE49-F238E27FC236}">
                <a16:creationId xmlns:a16="http://schemas.microsoft.com/office/drawing/2014/main" id="{570B4445-095A-4858-B124-F3A701587AB1}"/>
              </a:ext>
            </a:extLst>
          </p:cNvPr>
          <p:cNvSpPr>
            <a:spLocks noGrp="1"/>
          </p:cNvSpPr>
          <p:nvPr>
            <p:ph type="body" sz="quarter" idx="11" hasCustomPrompt="1"/>
          </p:nvPr>
        </p:nvSpPr>
        <p:spPr>
          <a:xfrm>
            <a:off x="427038" y="1566250"/>
            <a:ext cx="7381875" cy="1364330"/>
          </a:xfrm>
        </p:spPr>
        <p:txBody>
          <a:bodyPr/>
          <a:lstStyle>
            <a:lvl1pPr>
              <a:defRPr sz="1400">
                <a:latin typeface="+mj-lt"/>
              </a:defRPr>
            </a:lvl1pPr>
            <a:lvl2pPr marL="0" indent="0">
              <a:defRPr sz="1400">
                <a:solidFill>
                  <a:schemeClr val="tx1"/>
                </a:solidFill>
              </a:defRPr>
            </a:lvl2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5" name="Text Placeholder 3">
            <a:extLst>
              <a:ext uri="{FF2B5EF4-FFF2-40B4-BE49-F238E27FC236}">
                <a16:creationId xmlns:a16="http://schemas.microsoft.com/office/drawing/2014/main" id="{B0580331-746B-4A83-87AB-A5208B1DBD66}"/>
              </a:ext>
            </a:extLst>
          </p:cNvPr>
          <p:cNvSpPr>
            <a:spLocks noGrp="1"/>
          </p:cNvSpPr>
          <p:nvPr>
            <p:ph type="body" sz="quarter" idx="12" hasCustomPrompt="1"/>
          </p:nvPr>
        </p:nvSpPr>
        <p:spPr>
          <a:xfrm>
            <a:off x="427038" y="3247349"/>
            <a:ext cx="7381875" cy="1364330"/>
          </a:xfrm>
        </p:spPr>
        <p:txBody>
          <a:bodyPr/>
          <a:lstStyle>
            <a:lvl1pPr>
              <a:defRPr sz="1400">
                <a:latin typeface="+mj-lt"/>
              </a:defRPr>
            </a:lvl1pPr>
            <a:lvl2pPr marL="0" indent="0">
              <a:defRPr sz="1400">
                <a:solidFill>
                  <a:schemeClr val="tx1"/>
                </a:solidFill>
              </a:defRPr>
            </a:lvl2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6" name="Text Placeholder 3">
            <a:extLst>
              <a:ext uri="{FF2B5EF4-FFF2-40B4-BE49-F238E27FC236}">
                <a16:creationId xmlns:a16="http://schemas.microsoft.com/office/drawing/2014/main" id="{99C94FC6-92CD-4FC3-B900-4B43776C1780}"/>
              </a:ext>
            </a:extLst>
          </p:cNvPr>
          <p:cNvSpPr>
            <a:spLocks noGrp="1"/>
          </p:cNvSpPr>
          <p:nvPr>
            <p:ph type="body" sz="quarter" idx="13" hasCustomPrompt="1"/>
          </p:nvPr>
        </p:nvSpPr>
        <p:spPr>
          <a:xfrm>
            <a:off x="427038" y="4928448"/>
            <a:ext cx="7381875" cy="1364330"/>
          </a:xfrm>
        </p:spPr>
        <p:txBody>
          <a:bodyPr/>
          <a:lstStyle>
            <a:lvl1pPr>
              <a:defRPr sz="1400">
                <a:latin typeface="+mj-lt"/>
              </a:defRPr>
            </a:lvl1pPr>
            <a:lvl2pPr marL="0" indent="0">
              <a:defRPr sz="1400">
                <a:solidFill>
                  <a:schemeClr val="tx1"/>
                </a:solidFill>
              </a:defRPr>
            </a:lvl2pPr>
          </a:lstStyle>
          <a:p>
            <a:pPr lvl="0"/>
            <a:r>
              <a:rPr lang="en-US"/>
              <a:t>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p:txBody>
      </p:sp>
    </p:spTree>
    <p:extLst>
      <p:ext uri="{BB962C8B-B14F-4D97-AF65-F5344CB8AC3E}">
        <p14:creationId xmlns:p14="http://schemas.microsoft.com/office/powerpoint/2010/main" val="2445771257"/>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4 columns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14" name="Straight Connector 13">
            <a:extLst>
              <a:ext uri="{FF2B5EF4-FFF2-40B4-BE49-F238E27FC236}">
                <a16:creationId xmlns:a16="http://schemas.microsoft.com/office/drawing/2014/main" id="{82FDFD28-F112-450D-A1BA-AD4B3857AB96}"/>
              </a:ext>
            </a:extLst>
          </p:cNvPr>
          <p:cNvCxnSpPr>
            <a:cxnSpLocks/>
          </p:cNvCxnSpPr>
          <p:nvPr/>
        </p:nvCxnSpPr>
        <p:spPr>
          <a:xfrm>
            <a:off x="3160088" y="3300126"/>
            <a:ext cx="0" cy="218708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B3293D3-98E7-4FB5-8FA6-7CB6BE91CA9F}"/>
              </a:ext>
            </a:extLst>
          </p:cNvPr>
          <p:cNvCxnSpPr>
            <a:cxnSpLocks/>
          </p:cNvCxnSpPr>
          <p:nvPr/>
        </p:nvCxnSpPr>
        <p:spPr>
          <a:xfrm>
            <a:off x="6103327" y="3300126"/>
            <a:ext cx="0" cy="218708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39C7B3B-45E9-488C-A152-D90C0EA551C8}"/>
              </a:ext>
            </a:extLst>
          </p:cNvPr>
          <p:cNvCxnSpPr>
            <a:cxnSpLocks/>
          </p:cNvCxnSpPr>
          <p:nvPr/>
        </p:nvCxnSpPr>
        <p:spPr>
          <a:xfrm>
            <a:off x="9046566" y="3300126"/>
            <a:ext cx="0" cy="218708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2C72DC08-C3B7-4D7A-A04D-970F0481651D}"/>
              </a:ext>
            </a:extLst>
          </p:cNvPr>
          <p:cNvSpPr>
            <a:spLocks noGrp="1"/>
          </p:cNvSpPr>
          <p:nvPr>
            <p:ph type="body" sz="quarter" idx="10" hasCustomPrompt="1"/>
          </p:nvPr>
        </p:nvSpPr>
        <p:spPr>
          <a:xfrm>
            <a:off x="427200" y="1413848"/>
            <a:ext cx="2522537" cy="321468"/>
          </a:xfrm>
        </p:spPr>
        <p:txBody>
          <a:bodyPr anchor="b"/>
          <a:lstStyle>
            <a:lvl1pPr algn="ctr">
              <a:defRPr sz="1400">
                <a:solidFill>
                  <a:srgbClr val="C00000"/>
                </a:solidFill>
                <a:latin typeface="+mj-lt"/>
              </a:defRPr>
            </a:lvl1pPr>
          </a:lstStyle>
          <a:p>
            <a:pPr lvl="0"/>
            <a:r>
              <a:rPr lang="en-US"/>
              <a:t>Heading</a:t>
            </a:r>
          </a:p>
        </p:txBody>
      </p:sp>
      <p:sp>
        <p:nvSpPr>
          <p:cNvPr id="22" name="Text Placeholder 9">
            <a:extLst>
              <a:ext uri="{FF2B5EF4-FFF2-40B4-BE49-F238E27FC236}">
                <a16:creationId xmlns:a16="http://schemas.microsoft.com/office/drawing/2014/main" id="{2EC97A8B-3C7C-40A1-8004-1E5BB0CA31BD}"/>
              </a:ext>
            </a:extLst>
          </p:cNvPr>
          <p:cNvSpPr>
            <a:spLocks noGrp="1"/>
          </p:cNvSpPr>
          <p:nvPr>
            <p:ph type="body" sz="quarter" idx="12" hasCustomPrompt="1"/>
          </p:nvPr>
        </p:nvSpPr>
        <p:spPr>
          <a:xfrm>
            <a:off x="427200"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1"/>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r>
              <a:rPr lang="en-US"/>
              <a:t>.</a:t>
            </a:r>
          </a:p>
        </p:txBody>
      </p:sp>
      <p:sp>
        <p:nvSpPr>
          <p:cNvPr id="23" name="Text Placeholder 4">
            <a:extLst>
              <a:ext uri="{FF2B5EF4-FFF2-40B4-BE49-F238E27FC236}">
                <a16:creationId xmlns:a16="http://schemas.microsoft.com/office/drawing/2014/main" id="{33A5E712-B846-4430-A129-6EE3F2CC3F9D}"/>
              </a:ext>
            </a:extLst>
          </p:cNvPr>
          <p:cNvSpPr>
            <a:spLocks noGrp="1"/>
          </p:cNvSpPr>
          <p:nvPr>
            <p:ph type="body" sz="quarter" idx="13" hasCustomPrompt="1"/>
          </p:nvPr>
        </p:nvSpPr>
        <p:spPr>
          <a:xfrm>
            <a:off x="3370439" y="1390261"/>
            <a:ext cx="2523744" cy="345055"/>
          </a:xfrm>
        </p:spPr>
        <p:txBody>
          <a:bodyPr anchor="b"/>
          <a:lstStyle>
            <a:lvl1pPr algn="ctr">
              <a:defRPr sz="1400">
                <a:solidFill>
                  <a:srgbClr val="997ACD"/>
                </a:solidFill>
                <a:latin typeface="+mj-lt"/>
              </a:defRPr>
            </a:lvl1pPr>
          </a:lstStyle>
          <a:p>
            <a:pPr lvl="0"/>
            <a:r>
              <a:rPr lang="en-US"/>
              <a:t>Heading</a:t>
            </a:r>
            <a:endParaRPr lang="en-IN"/>
          </a:p>
        </p:txBody>
      </p:sp>
      <p:sp>
        <p:nvSpPr>
          <p:cNvPr id="24" name="Picture Placeholder 6">
            <a:extLst>
              <a:ext uri="{FF2B5EF4-FFF2-40B4-BE49-F238E27FC236}">
                <a16:creationId xmlns:a16="http://schemas.microsoft.com/office/drawing/2014/main" id="{F3CB9218-583A-406A-A0C5-E231913E5744}"/>
              </a:ext>
            </a:extLst>
          </p:cNvPr>
          <p:cNvSpPr>
            <a:spLocks noGrp="1"/>
          </p:cNvSpPr>
          <p:nvPr>
            <p:ph type="pic" sz="quarter" idx="14" hasCustomPrompt="1"/>
          </p:nvPr>
        </p:nvSpPr>
        <p:spPr>
          <a:xfrm>
            <a:off x="3370439" y="1847850"/>
            <a:ext cx="2522537" cy="1397000"/>
          </a:xfrm>
        </p:spPr>
        <p:txBody>
          <a:bodyPr tIns="274320" anchor="t"/>
          <a:lstStyle>
            <a:lvl1pPr algn="ctr">
              <a:defRPr sz="1200" b="0">
                <a:latin typeface="+mn-lt"/>
              </a:defRPr>
            </a:lvl1pPr>
          </a:lstStyle>
          <a:p>
            <a:r>
              <a:rPr lang="en-US"/>
              <a:t>Click here</a:t>
            </a:r>
            <a:endParaRPr lang="en-IN"/>
          </a:p>
        </p:txBody>
      </p:sp>
      <p:sp>
        <p:nvSpPr>
          <p:cNvPr id="26" name="Text Placeholder 9">
            <a:extLst>
              <a:ext uri="{FF2B5EF4-FFF2-40B4-BE49-F238E27FC236}">
                <a16:creationId xmlns:a16="http://schemas.microsoft.com/office/drawing/2014/main" id="{A15DC544-CB66-48A8-904C-FC750EDFDE62}"/>
              </a:ext>
            </a:extLst>
          </p:cNvPr>
          <p:cNvSpPr>
            <a:spLocks noGrp="1"/>
          </p:cNvSpPr>
          <p:nvPr>
            <p:ph type="body" sz="quarter" idx="15" hasCustomPrompt="1"/>
          </p:nvPr>
        </p:nvSpPr>
        <p:spPr>
          <a:xfrm>
            <a:off x="3370439"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27" name="Text Placeholder 4">
            <a:extLst>
              <a:ext uri="{FF2B5EF4-FFF2-40B4-BE49-F238E27FC236}">
                <a16:creationId xmlns:a16="http://schemas.microsoft.com/office/drawing/2014/main" id="{3CBF21CC-CA95-4B5A-AA93-863B7FC86EDC}"/>
              </a:ext>
            </a:extLst>
          </p:cNvPr>
          <p:cNvSpPr>
            <a:spLocks noGrp="1"/>
          </p:cNvSpPr>
          <p:nvPr>
            <p:ph type="body" sz="quarter" idx="16" hasCustomPrompt="1"/>
          </p:nvPr>
        </p:nvSpPr>
        <p:spPr>
          <a:xfrm>
            <a:off x="6313678" y="1390261"/>
            <a:ext cx="2523744" cy="345055"/>
          </a:xfrm>
        </p:spPr>
        <p:txBody>
          <a:bodyPr anchor="b"/>
          <a:lstStyle>
            <a:lvl1pPr algn="ctr">
              <a:defRPr sz="1400">
                <a:solidFill>
                  <a:srgbClr val="127010"/>
                </a:solidFill>
                <a:latin typeface="+mj-lt"/>
              </a:defRPr>
            </a:lvl1pPr>
          </a:lstStyle>
          <a:p>
            <a:pPr lvl="0"/>
            <a:r>
              <a:rPr lang="en-US"/>
              <a:t>Heading</a:t>
            </a:r>
            <a:endParaRPr lang="en-IN"/>
          </a:p>
        </p:txBody>
      </p:sp>
      <p:sp>
        <p:nvSpPr>
          <p:cNvPr id="28" name="Picture Placeholder 6">
            <a:extLst>
              <a:ext uri="{FF2B5EF4-FFF2-40B4-BE49-F238E27FC236}">
                <a16:creationId xmlns:a16="http://schemas.microsoft.com/office/drawing/2014/main" id="{4124DF24-C309-4F49-87C5-C33347DA5171}"/>
              </a:ext>
            </a:extLst>
          </p:cNvPr>
          <p:cNvSpPr>
            <a:spLocks noGrp="1"/>
          </p:cNvSpPr>
          <p:nvPr>
            <p:ph type="pic" sz="quarter" idx="17" hasCustomPrompt="1"/>
          </p:nvPr>
        </p:nvSpPr>
        <p:spPr>
          <a:xfrm>
            <a:off x="6313678" y="1847850"/>
            <a:ext cx="2522537" cy="1397000"/>
          </a:xfrm>
        </p:spPr>
        <p:txBody>
          <a:bodyPr tIns="274320" anchor="t"/>
          <a:lstStyle>
            <a:lvl1pPr algn="ctr">
              <a:defRPr sz="1200" b="0">
                <a:latin typeface="+mn-lt"/>
              </a:defRPr>
            </a:lvl1pPr>
          </a:lstStyle>
          <a:p>
            <a:r>
              <a:rPr lang="en-US"/>
              <a:t>Click here</a:t>
            </a:r>
            <a:endParaRPr lang="en-IN"/>
          </a:p>
        </p:txBody>
      </p:sp>
      <p:sp>
        <p:nvSpPr>
          <p:cNvPr id="29" name="Text Placeholder 9">
            <a:extLst>
              <a:ext uri="{FF2B5EF4-FFF2-40B4-BE49-F238E27FC236}">
                <a16:creationId xmlns:a16="http://schemas.microsoft.com/office/drawing/2014/main" id="{B097E3E0-51C5-4C09-A03C-F20AD0829AF8}"/>
              </a:ext>
            </a:extLst>
          </p:cNvPr>
          <p:cNvSpPr>
            <a:spLocks noGrp="1"/>
          </p:cNvSpPr>
          <p:nvPr>
            <p:ph type="body" sz="quarter" idx="18" hasCustomPrompt="1"/>
          </p:nvPr>
        </p:nvSpPr>
        <p:spPr>
          <a:xfrm>
            <a:off x="6313678"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30" name="Text Placeholder 4">
            <a:extLst>
              <a:ext uri="{FF2B5EF4-FFF2-40B4-BE49-F238E27FC236}">
                <a16:creationId xmlns:a16="http://schemas.microsoft.com/office/drawing/2014/main" id="{BA295574-C8D8-4C0E-9E3B-6EDE57875B4B}"/>
              </a:ext>
            </a:extLst>
          </p:cNvPr>
          <p:cNvSpPr>
            <a:spLocks noGrp="1"/>
          </p:cNvSpPr>
          <p:nvPr>
            <p:ph type="body" sz="quarter" idx="19" hasCustomPrompt="1"/>
          </p:nvPr>
        </p:nvSpPr>
        <p:spPr>
          <a:xfrm>
            <a:off x="9256918" y="1390261"/>
            <a:ext cx="2523744" cy="345055"/>
          </a:xfrm>
        </p:spPr>
        <p:txBody>
          <a:bodyPr anchor="b"/>
          <a:lstStyle>
            <a:lvl1pPr algn="ctr">
              <a:defRPr sz="1400">
                <a:solidFill>
                  <a:srgbClr val="FFC000"/>
                </a:solidFill>
                <a:latin typeface="+mj-lt"/>
              </a:defRPr>
            </a:lvl1pPr>
          </a:lstStyle>
          <a:p>
            <a:pPr lvl="0"/>
            <a:r>
              <a:rPr lang="en-US"/>
              <a:t>Heading</a:t>
            </a:r>
            <a:endParaRPr lang="en-IN"/>
          </a:p>
        </p:txBody>
      </p:sp>
      <p:sp>
        <p:nvSpPr>
          <p:cNvPr id="31" name="Picture Placeholder 6">
            <a:extLst>
              <a:ext uri="{FF2B5EF4-FFF2-40B4-BE49-F238E27FC236}">
                <a16:creationId xmlns:a16="http://schemas.microsoft.com/office/drawing/2014/main" id="{2794D656-F651-4074-BD21-42C113101461}"/>
              </a:ext>
            </a:extLst>
          </p:cNvPr>
          <p:cNvSpPr>
            <a:spLocks noGrp="1"/>
          </p:cNvSpPr>
          <p:nvPr>
            <p:ph type="pic" sz="quarter" idx="20" hasCustomPrompt="1"/>
          </p:nvPr>
        </p:nvSpPr>
        <p:spPr>
          <a:xfrm>
            <a:off x="9256918" y="1847850"/>
            <a:ext cx="2522537" cy="1397000"/>
          </a:xfrm>
        </p:spPr>
        <p:txBody>
          <a:bodyPr tIns="274320" anchor="t"/>
          <a:lstStyle>
            <a:lvl1pPr algn="ctr">
              <a:defRPr sz="1200" b="0">
                <a:latin typeface="+mn-lt"/>
              </a:defRPr>
            </a:lvl1pPr>
          </a:lstStyle>
          <a:p>
            <a:r>
              <a:rPr lang="en-US"/>
              <a:t>Click here</a:t>
            </a:r>
            <a:endParaRPr lang="en-IN"/>
          </a:p>
        </p:txBody>
      </p:sp>
      <p:sp>
        <p:nvSpPr>
          <p:cNvPr id="32" name="Text Placeholder 9">
            <a:extLst>
              <a:ext uri="{FF2B5EF4-FFF2-40B4-BE49-F238E27FC236}">
                <a16:creationId xmlns:a16="http://schemas.microsoft.com/office/drawing/2014/main" id="{59F23661-B550-4329-83B9-DFF70D3D2F20}"/>
              </a:ext>
            </a:extLst>
          </p:cNvPr>
          <p:cNvSpPr>
            <a:spLocks noGrp="1"/>
          </p:cNvSpPr>
          <p:nvPr>
            <p:ph type="body" sz="quarter" idx="21" hasCustomPrompt="1"/>
          </p:nvPr>
        </p:nvSpPr>
        <p:spPr>
          <a:xfrm>
            <a:off x="9256918" y="3376613"/>
            <a:ext cx="2522537" cy="2643187"/>
          </a:xfrm>
        </p:spPr>
        <p:txBody>
          <a:bodyPr/>
          <a:lstStyle>
            <a:lvl1pPr marL="0" indent="0" algn="ctr">
              <a:spcBef>
                <a:spcPts val="0"/>
              </a:spcBef>
              <a:spcAft>
                <a:spcPts val="1200"/>
              </a:spcAft>
              <a:defRPr sz="1200">
                <a:latin typeface="+mj-lt"/>
              </a:defRPr>
            </a:lvl1pPr>
            <a:lvl2pPr marL="0" indent="0" algn="ctr">
              <a:spcBef>
                <a:spcPts val="0"/>
              </a:spcBef>
              <a:spcAft>
                <a:spcPts val="1200"/>
              </a:spcAft>
              <a:defRPr sz="120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33" name="Picture Placeholder 6">
            <a:extLst>
              <a:ext uri="{FF2B5EF4-FFF2-40B4-BE49-F238E27FC236}">
                <a16:creationId xmlns:a16="http://schemas.microsoft.com/office/drawing/2014/main" id="{7F1D5FAD-318F-46B3-907C-EF7BCC1FD640}"/>
              </a:ext>
            </a:extLst>
          </p:cNvPr>
          <p:cNvSpPr>
            <a:spLocks noGrp="1"/>
          </p:cNvSpPr>
          <p:nvPr>
            <p:ph type="pic" sz="quarter" idx="11" hasCustomPrompt="1"/>
          </p:nvPr>
        </p:nvSpPr>
        <p:spPr>
          <a:xfrm>
            <a:off x="427200" y="1847850"/>
            <a:ext cx="2522537" cy="1397000"/>
          </a:xfrm>
        </p:spPr>
        <p:txBody>
          <a:bodyPr tIns="274320" anchor="t"/>
          <a:lstStyle>
            <a:lvl1pPr algn="ctr">
              <a:defRPr sz="1200" b="0">
                <a:latin typeface="+mn-lt"/>
              </a:defRPr>
            </a:lvl1pPr>
          </a:lstStyle>
          <a:p>
            <a:r>
              <a:rPr lang="en-US"/>
              <a:t>Click here</a:t>
            </a:r>
            <a:endParaRPr lang="en-IN"/>
          </a:p>
        </p:txBody>
      </p:sp>
    </p:spTree>
    <p:extLst>
      <p:ext uri="{BB962C8B-B14F-4D97-AF65-F5344CB8AC3E}">
        <p14:creationId xmlns:p14="http://schemas.microsoft.com/office/powerpoint/2010/main" val="93957783"/>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5" y="435823"/>
            <a:ext cx="5906113" cy="1231143"/>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9" name="Rectangle 38">
            <a:extLst>
              <a:ext uri="{FF2B5EF4-FFF2-40B4-BE49-F238E27FC236}">
                <a16:creationId xmlns:a16="http://schemas.microsoft.com/office/drawing/2014/main" id="{704A823C-6E6E-48AA-9F4A-BE855E09B6DB}"/>
              </a:ext>
            </a:extLst>
          </p:cNvPr>
          <p:cNvSpPr/>
          <p:nvPr/>
        </p:nvSpPr>
        <p:spPr bwMode="auto">
          <a:xfrm>
            <a:off x="-2" y="1772582"/>
            <a:ext cx="6748891" cy="4533900"/>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nSpc>
                <a:spcPct val="107000"/>
              </a:lnSpc>
              <a:spcBef>
                <a:spcPts val="0"/>
              </a:spcBef>
              <a:spcAft>
                <a:spcPts val="800"/>
              </a:spcAft>
              <a:buFont typeface="Arial" panose="020B0604020202020204" pitchFamily="34" charset="0"/>
              <a:buChar char="•"/>
            </a:pPr>
            <a:endParaRPr lang="en-US"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 name="Picture Placeholder 5">
            <a:extLst>
              <a:ext uri="{FF2B5EF4-FFF2-40B4-BE49-F238E27FC236}">
                <a16:creationId xmlns:a16="http://schemas.microsoft.com/office/drawing/2014/main" id="{F9C44E58-A799-4F8E-A13B-46B326D61FB6}"/>
              </a:ext>
            </a:extLst>
          </p:cNvPr>
          <p:cNvSpPr>
            <a:spLocks noGrp="1"/>
          </p:cNvSpPr>
          <p:nvPr>
            <p:ph type="pic" sz="quarter" idx="10" hasCustomPrompt="1"/>
          </p:nvPr>
        </p:nvSpPr>
        <p:spPr>
          <a:xfrm>
            <a:off x="6748463" y="45719"/>
            <a:ext cx="5443537" cy="6812282"/>
          </a:xfrm>
          <a:solidFill>
            <a:schemeClr val="tx2">
              <a:lumMod val="10000"/>
              <a:lumOff val="90000"/>
            </a:schemeClr>
          </a:solidFill>
        </p:spPr>
        <p:txBody>
          <a:bodyPr anchor="ctr"/>
          <a:lstStyle>
            <a:lvl1pPr algn="ctr">
              <a:defRPr/>
            </a:lvl1pPr>
          </a:lstStyle>
          <a:p>
            <a:r>
              <a:rPr lang="en-US"/>
              <a:t>Insert image here</a:t>
            </a:r>
          </a:p>
        </p:txBody>
      </p:sp>
      <p:grpSp>
        <p:nvGrpSpPr>
          <p:cNvPr id="7" name="Group 6">
            <a:extLst>
              <a:ext uri="{FF2B5EF4-FFF2-40B4-BE49-F238E27FC236}">
                <a16:creationId xmlns:a16="http://schemas.microsoft.com/office/drawing/2014/main" id="{22257D43-4195-4FE6-BD1A-A79709480E61}"/>
              </a:ext>
            </a:extLst>
          </p:cNvPr>
          <p:cNvGrpSpPr/>
          <p:nvPr/>
        </p:nvGrpSpPr>
        <p:grpSpPr>
          <a:xfrm>
            <a:off x="-2" y="1947628"/>
            <a:ext cx="1456092" cy="863933"/>
            <a:chOff x="-2" y="10564222"/>
            <a:chExt cx="1456092" cy="863933"/>
          </a:xfrm>
        </p:grpSpPr>
        <p:sp>
          <p:nvSpPr>
            <p:cNvPr id="27" name="Rectangle 26">
              <a:extLst>
                <a:ext uri="{FF2B5EF4-FFF2-40B4-BE49-F238E27FC236}">
                  <a16:creationId xmlns:a16="http://schemas.microsoft.com/office/drawing/2014/main" id="{AC0193A4-DCC4-487B-96D1-574C5E4D3ADE}"/>
                </a:ext>
              </a:extLst>
            </p:cNvPr>
            <p:cNvSpPr/>
            <p:nvPr/>
          </p:nvSpPr>
          <p:spPr bwMode="auto">
            <a:xfrm>
              <a:off x="-2" y="10564222"/>
              <a:ext cx="1018878" cy="863933"/>
            </a:xfrm>
            <a:prstGeom prst="rect">
              <a:avLst/>
            </a:prstGeom>
            <a:solidFill>
              <a:srgbClr val="1270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spcBef>
                  <a:spcPts val="0"/>
                </a:spcBef>
                <a:spcAft>
                  <a:spcPts val="800"/>
                </a:spcAft>
                <a:buFont typeface="Arial" panose="020B0604020202020204" pitchFamily="34" charset="0"/>
                <a:buChar char="•"/>
              </a:pPr>
              <a:endParaRPr lang="en-US" sz="1800" b="1">
                <a:solidFill>
                  <a:schemeClr val="tx1"/>
                </a:solidFill>
                <a:effectLst/>
                <a:ea typeface="Times New Roman" panose="02020603050405020304" pitchFamily="18" charset="0"/>
                <a:cs typeface="Times New Roman" panose="02020603050405020304" pitchFamily="18" charset="0"/>
              </a:endParaRPr>
            </a:p>
          </p:txBody>
        </p:sp>
        <p:sp>
          <p:nvSpPr>
            <p:cNvPr id="28" name="Oval 27">
              <a:extLst>
                <a:ext uri="{FF2B5EF4-FFF2-40B4-BE49-F238E27FC236}">
                  <a16:creationId xmlns:a16="http://schemas.microsoft.com/office/drawing/2014/main" id="{8B0BB410-38EF-4429-A13C-A77F47E1093E}"/>
                </a:ext>
              </a:extLst>
            </p:cNvPr>
            <p:cNvSpPr/>
            <p:nvPr/>
          </p:nvSpPr>
          <p:spPr bwMode="auto">
            <a:xfrm rot="5400000">
              <a:off x="592157" y="10564222"/>
              <a:ext cx="863933" cy="863933"/>
            </a:xfrm>
            <a:prstGeom prst="ellipse">
              <a:avLst/>
            </a:prstGeom>
            <a:solidFill>
              <a:srgbClr val="1270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spcBef>
                  <a:spcPts val="0"/>
                </a:spcBef>
                <a:spcAft>
                  <a:spcPts val="800"/>
                </a:spcAft>
                <a:buFont typeface="Arial" panose="020B0604020202020204" pitchFamily="34" charset="0"/>
                <a:buChar char="•"/>
              </a:pPr>
              <a:endParaRPr lang="en-US" sz="1800" b="1">
                <a:solidFill>
                  <a:schemeClr val="tx1"/>
                </a:solidFill>
                <a:effectLst/>
                <a:ea typeface="Times New Roman" panose="02020603050405020304" pitchFamily="18" charset="0"/>
                <a:cs typeface="Times New Roman" panose="02020603050405020304" pitchFamily="18" charset="0"/>
              </a:endParaRPr>
            </a:p>
          </p:txBody>
        </p:sp>
        <p:sp>
          <p:nvSpPr>
            <p:cNvPr id="29" name="Oval 28">
              <a:extLst>
                <a:ext uri="{FF2B5EF4-FFF2-40B4-BE49-F238E27FC236}">
                  <a16:creationId xmlns:a16="http://schemas.microsoft.com/office/drawing/2014/main" id="{A5627C07-33E3-4A29-B364-24E9D95B405D}"/>
                </a:ext>
              </a:extLst>
            </p:cNvPr>
            <p:cNvSpPr/>
            <p:nvPr/>
          </p:nvSpPr>
          <p:spPr bwMode="auto">
            <a:xfrm rot="5400000">
              <a:off x="668901" y="10640966"/>
              <a:ext cx="710446" cy="7104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spcBef>
                  <a:spcPts val="0"/>
                </a:spcBef>
                <a:spcAft>
                  <a:spcPts val="800"/>
                </a:spcAft>
                <a:buFont typeface="Arial" panose="020B0604020202020204" pitchFamily="34" charset="0"/>
                <a:buChar char="•"/>
              </a:pPr>
              <a:endParaRPr lang="en-US" sz="1800" b="1">
                <a:solidFill>
                  <a:schemeClr val="tx1"/>
                </a:solidFill>
                <a:effectLst/>
                <a:ea typeface="Times New Roman" panose="02020603050405020304" pitchFamily="18" charset="0"/>
                <a:cs typeface="Times New Roman" panose="02020603050405020304" pitchFamily="18" charset="0"/>
              </a:endParaRPr>
            </a:p>
          </p:txBody>
        </p:sp>
      </p:grpSp>
      <p:sp>
        <p:nvSpPr>
          <p:cNvPr id="4" name="Text Placeholder 3">
            <a:extLst>
              <a:ext uri="{FF2B5EF4-FFF2-40B4-BE49-F238E27FC236}">
                <a16:creationId xmlns:a16="http://schemas.microsoft.com/office/drawing/2014/main" id="{F1287A27-8756-4A48-9750-7CEC37816AFC}"/>
              </a:ext>
            </a:extLst>
          </p:cNvPr>
          <p:cNvSpPr>
            <a:spLocks noGrp="1"/>
          </p:cNvSpPr>
          <p:nvPr>
            <p:ph type="body" sz="quarter" idx="11" hasCustomPrompt="1"/>
          </p:nvPr>
        </p:nvSpPr>
        <p:spPr>
          <a:xfrm>
            <a:off x="419100" y="2895600"/>
            <a:ext cx="5913438" cy="3124200"/>
          </a:xfrm>
        </p:spPr>
        <p:txBody>
          <a:bodyPr/>
          <a:lstStyle>
            <a:lvl1pPr>
              <a:defRPr sz="1600"/>
            </a:lvl1pPr>
          </a:lstStyle>
          <a:p>
            <a:pPr lvl="0"/>
            <a:r>
              <a:rPr lang="en-US"/>
              <a:t>Insert text here</a:t>
            </a:r>
          </a:p>
        </p:txBody>
      </p:sp>
      <p:sp>
        <p:nvSpPr>
          <p:cNvPr id="18" name="Picture Placeholder 57">
            <a:extLst>
              <a:ext uri="{FF2B5EF4-FFF2-40B4-BE49-F238E27FC236}">
                <a16:creationId xmlns:a16="http://schemas.microsoft.com/office/drawing/2014/main" id="{0002635D-D349-4C94-BFE0-E7468E3887DC}"/>
              </a:ext>
            </a:extLst>
          </p:cNvPr>
          <p:cNvSpPr>
            <a:spLocks noGrp="1"/>
          </p:cNvSpPr>
          <p:nvPr>
            <p:ph type="pic" sz="quarter" idx="18" hasCustomPrompt="1"/>
          </p:nvPr>
        </p:nvSpPr>
        <p:spPr>
          <a:xfrm>
            <a:off x="709014" y="2069753"/>
            <a:ext cx="619724" cy="619724"/>
          </a:xfrm>
          <a:prstGeom prst="ellipse">
            <a:avLst/>
          </a:prstGeom>
        </p:spPr>
        <p:txBody>
          <a:bodyPr anchor="ctr">
            <a:normAutofit/>
          </a:bodyPr>
          <a:lstStyle>
            <a:lvl1pPr algn="ctr">
              <a:defRPr sz="1100">
                <a:solidFill>
                  <a:schemeClr val="tx2"/>
                </a:solidFill>
              </a:defRPr>
            </a:lvl1pPr>
          </a:lstStyle>
          <a:p>
            <a:r>
              <a:rPr lang="en-US"/>
              <a:t>Icon</a:t>
            </a:r>
          </a:p>
        </p:txBody>
      </p:sp>
    </p:spTree>
    <p:extLst>
      <p:ext uri="{BB962C8B-B14F-4D97-AF65-F5344CB8AC3E}">
        <p14:creationId xmlns:p14="http://schemas.microsoft.com/office/powerpoint/2010/main" val="84886520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clusion w/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0"/>
            <a:ext cx="3670300"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700F7508-C740-42AB-B200-EB54F3078A5F}"/>
              </a:ext>
            </a:extLst>
          </p:cNvPr>
          <p:cNvSpPr>
            <a:spLocks noGrp="1"/>
          </p:cNvSpPr>
          <p:nvPr>
            <p:ph type="title" hasCustomPrompt="1"/>
          </p:nvPr>
        </p:nvSpPr>
        <p:spPr>
          <a:xfrm>
            <a:off x="426425" y="2222501"/>
            <a:ext cx="3057004" cy="2111906"/>
          </a:xfrm>
        </p:spPr>
        <p:txBody>
          <a:bodyPr anchor="ctr"/>
          <a:lstStyle>
            <a:lvl1pPr algn="l">
              <a:defRPr sz="4400">
                <a:solidFill>
                  <a:schemeClr val="bg1"/>
                </a:solidFill>
              </a:defRPr>
            </a:lvl1pPr>
          </a:lstStyle>
          <a:p>
            <a:r>
              <a:rPr lang="en-US"/>
              <a:t>Insert title here</a:t>
            </a:r>
          </a:p>
        </p:txBody>
      </p:sp>
      <p:sp>
        <p:nvSpPr>
          <p:cNvPr id="7" name="Text Placeholder 6">
            <a:extLst>
              <a:ext uri="{FF2B5EF4-FFF2-40B4-BE49-F238E27FC236}">
                <a16:creationId xmlns:a16="http://schemas.microsoft.com/office/drawing/2014/main" id="{A291635B-AE87-4B27-8EE2-15FF72DE8D14}"/>
              </a:ext>
            </a:extLst>
          </p:cNvPr>
          <p:cNvSpPr>
            <a:spLocks noGrp="1"/>
          </p:cNvSpPr>
          <p:nvPr>
            <p:ph type="body" sz="quarter" idx="10"/>
          </p:nvPr>
        </p:nvSpPr>
        <p:spPr>
          <a:xfrm>
            <a:off x="3949700" y="444500"/>
            <a:ext cx="7823200" cy="6107113"/>
          </a:xfrm>
        </p:spPr>
        <p:txBody>
          <a:bodyPr anchor="ctr"/>
          <a:lstStyle>
            <a:lvl1pPr>
              <a:defRPr sz="1800"/>
            </a:lvl1pPr>
            <a:lvl2pPr>
              <a:defRPr sz="14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26578179"/>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clusion w/ 4 column content">
    <p:bg>
      <p:bgPr>
        <a:solidFill>
          <a:schemeClr val="bg1">
            <a:lumMod val="95000"/>
          </a:schemeClr>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841C4006-C73A-4B94-B185-B32A9E2A1703}"/>
              </a:ext>
            </a:extLst>
          </p:cNvPr>
          <p:cNvSpPr>
            <a:spLocks noGrp="1"/>
          </p:cNvSpPr>
          <p:nvPr>
            <p:ph type="pic" sz="quarter" idx="22" hasCustomPrompt="1"/>
          </p:nvPr>
        </p:nvSpPr>
        <p:spPr>
          <a:xfrm>
            <a:off x="0" y="0"/>
            <a:ext cx="12192000" cy="1951348"/>
          </a:xfrm>
        </p:spPr>
        <p:txBody>
          <a:bodyPr anchor="ctr"/>
          <a:lstStyle>
            <a:lvl1pPr algn="ctr">
              <a:defRPr/>
            </a:lvl1pPr>
          </a:lstStyle>
          <a:p>
            <a:r>
              <a:rPr lang="en-US"/>
              <a:t>Insert Image her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1951348"/>
            <a:ext cx="12192000" cy="127791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700F7508-C740-42AB-B200-EB54F3078A5F}"/>
              </a:ext>
            </a:extLst>
          </p:cNvPr>
          <p:cNvSpPr>
            <a:spLocks noGrp="1"/>
          </p:cNvSpPr>
          <p:nvPr>
            <p:ph type="title" hasCustomPrompt="1"/>
          </p:nvPr>
        </p:nvSpPr>
        <p:spPr>
          <a:xfrm>
            <a:off x="426424" y="2159676"/>
            <a:ext cx="11336039" cy="534096"/>
          </a:xfrm>
        </p:spPr>
        <p:txBody>
          <a:bodyPr anchor="ctr"/>
          <a:lstStyle>
            <a:lvl1pPr algn="ctr">
              <a:defRPr sz="3200">
                <a:solidFill>
                  <a:schemeClr val="bg1"/>
                </a:solidFill>
              </a:defRPr>
            </a:lvl1pPr>
          </a:lstStyle>
          <a:p>
            <a:r>
              <a:rPr lang="en-US"/>
              <a:t>Insert title here</a:t>
            </a:r>
          </a:p>
        </p:txBody>
      </p:sp>
      <p:sp>
        <p:nvSpPr>
          <p:cNvPr id="9" name="Text Placeholder 8">
            <a:extLst>
              <a:ext uri="{FF2B5EF4-FFF2-40B4-BE49-F238E27FC236}">
                <a16:creationId xmlns:a16="http://schemas.microsoft.com/office/drawing/2014/main" id="{9E2A83DE-62C8-4549-BA78-2ED78CB824F2}"/>
              </a:ext>
            </a:extLst>
          </p:cNvPr>
          <p:cNvSpPr>
            <a:spLocks noGrp="1"/>
          </p:cNvSpPr>
          <p:nvPr>
            <p:ph type="body" sz="quarter" idx="10" hasCustomPrompt="1"/>
          </p:nvPr>
        </p:nvSpPr>
        <p:spPr>
          <a:xfrm>
            <a:off x="468619"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0" name="Text Placeholder 8">
            <a:extLst>
              <a:ext uri="{FF2B5EF4-FFF2-40B4-BE49-F238E27FC236}">
                <a16:creationId xmlns:a16="http://schemas.microsoft.com/office/drawing/2014/main" id="{87F5356C-59EC-4714-90F1-F22D0BD2E8D7}"/>
              </a:ext>
            </a:extLst>
          </p:cNvPr>
          <p:cNvSpPr>
            <a:spLocks noGrp="1"/>
          </p:cNvSpPr>
          <p:nvPr>
            <p:ph type="body" sz="quarter" idx="11" hasCustomPrompt="1"/>
          </p:nvPr>
        </p:nvSpPr>
        <p:spPr>
          <a:xfrm>
            <a:off x="3350890"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1" name="Text Placeholder 8">
            <a:extLst>
              <a:ext uri="{FF2B5EF4-FFF2-40B4-BE49-F238E27FC236}">
                <a16:creationId xmlns:a16="http://schemas.microsoft.com/office/drawing/2014/main" id="{10A5F6D5-6E62-49FB-AC92-4C365419E34A}"/>
              </a:ext>
            </a:extLst>
          </p:cNvPr>
          <p:cNvSpPr>
            <a:spLocks noGrp="1"/>
          </p:cNvSpPr>
          <p:nvPr>
            <p:ph type="body" sz="quarter" idx="12" hasCustomPrompt="1"/>
          </p:nvPr>
        </p:nvSpPr>
        <p:spPr>
          <a:xfrm>
            <a:off x="6233161"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2" name="Text Placeholder 8">
            <a:extLst>
              <a:ext uri="{FF2B5EF4-FFF2-40B4-BE49-F238E27FC236}">
                <a16:creationId xmlns:a16="http://schemas.microsoft.com/office/drawing/2014/main" id="{FB78557D-977D-418C-8A77-50A23A50314C}"/>
              </a:ext>
            </a:extLst>
          </p:cNvPr>
          <p:cNvSpPr>
            <a:spLocks noGrp="1"/>
          </p:cNvSpPr>
          <p:nvPr>
            <p:ph type="body" sz="quarter" idx="13" hasCustomPrompt="1"/>
          </p:nvPr>
        </p:nvSpPr>
        <p:spPr>
          <a:xfrm>
            <a:off x="9115433" y="3694794"/>
            <a:ext cx="2604836" cy="390844"/>
          </a:xfrm>
        </p:spPr>
        <p:txBody>
          <a:bodyPr anchor="ctr"/>
          <a:lstStyle>
            <a:lvl1pPr algn="ctr">
              <a:defRPr sz="1800">
                <a:solidFill>
                  <a:schemeClr val="accent2"/>
                </a:solidFill>
                <a:latin typeface="+mj-lt"/>
              </a:defRPr>
            </a:lvl1pPr>
            <a:lvl2pPr algn="ctr">
              <a:defRPr sz="1200"/>
            </a:lvl2pPr>
            <a:lvl3pPr algn="ctr">
              <a:defRPr sz="1050"/>
            </a:lvl3pPr>
            <a:lvl4pPr algn="ctr">
              <a:defRPr sz="1050"/>
            </a:lvl4pPr>
            <a:lvl5pPr algn="ctr">
              <a:defRPr sz="1050"/>
            </a:lvl5pPr>
          </a:lstStyle>
          <a:p>
            <a:pPr lvl="0"/>
            <a:r>
              <a:rPr lang="en-US"/>
              <a:t>Heading</a:t>
            </a:r>
          </a:p>
        </p:txBody>
      </p:sp>
      <p:sp>
        <p:nvSpPr>
          <p:cNvPr id="18" name="Text Placeholder 8">
            <a:extLst>
              <a:ext uri="{FF2B5EF4-FFF2-40B4-BE49-F238E27FC236}">
                <a16:creationId xmlns:a16="http://schemas.microsoft.com/office/drawing/2014/main" id="{F9C9638A-02F6-4F7B-ADD6-F86C75FF5612}"/>
              </a:ext>
            </a:extLst>
          </p:cNvPr>
          <p:cNvSpPr>
            <a:spLocks noGrp="1"/>
          </p:cNvSpPr>
          <p:nvPr>
            <p:ph type="body" sz="quarter" idx="18" hasCustomPrompt="1"/>
          </p:nvPr>
        </p:nvSpPr>
        <p:spPr>
          <a:xfrm>
            <a:off x="468619"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sp>
        <p:nvSpPr>
          <p:cNvPr id="19" name="Text Placeholder 8">
            <a:extLst>
              <a:ext uri="{FF2B5EF4-FFF2-40B4-BE49-F238E27FC236}">
                <a16:creationId xmlns:a16="http://schemas.microsoft.com/office/drawing/2014/main" id="{6854C7F8-2220-443F-BB73-2F30A0280DD3}"/>
              </a:ext>
            </a:extLst>
          </p:cNvPr>
          <p:cNvSpPr>
            <a:spLocks noGrp="1"/>
          </p:cNvSpPr>
          <p:nvPr>
            <p:ph type="body" sz="quarter" idx="19" hasCustomPrompt="1"/>
          </p:nvPr>
        </p:nvSpPr>
        <p:spPr>
          <a:xfrm>
            <a:off x="3350891"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sp>
        <p:nvSpPr>
          <p:cNvPr id="20" name="Text Placeholder 8">
            <a:extLst>
              <a:ext uri="{FF2B5EF4-FFF2-40B4-BE49-F238E27FC236}">
                <a16:creationId xmlns:a16="http://schemas.microsoft.com/office/drawing/2014/main" id="{E3B69977-42E7-4EF1-89E0-9697D5801CFE}"/>
              </a:ext>
            </a:extLst>
          </p:cNvPr>
          <p:cNvSpPr>
            <a:spLocks noGrp="1"/>
          </p:cNvSpPr>
          <p:nvPr>
            <p:ph type="body" sz="quarter" idx="20" hasCustomPrompt="1"/>
          </p:nvPr>
        </p:nvSpPr>
        <p:spPr>
          <a:xfrm>
            <a:off x="6233163"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sp>
        <p:nvSpPr>
          <p:cNvPr id="21" name="Text Placeholder 8">
            <a:extLst>
              <a:ext uri="{FF2B5EF4-FFF2-40B4-BE49-F238E27FC236}">
                <a16:creationId xmlns:a16="http://schemas.microsoft.com/office/drawing/2014/main" id="{D1E10885-25C2-46F2-97F7-20E12EF816DD}"/>
              </a:ext>
            </a:extLst>
          </p:cNvPr>
          <p:cNvSpPr>
            <a:spLocks noGrp="1"/>
          </p:cNvSpPr>
          <p:nvPr>
            <p:ph type="body" sz="quarter" idx="21" hasCustomPrompt="1"/>
          </p:nvPr>
        </p:nvSpPr>
        <p:spPr>
          <a:xfrm>
            <a:off x="9115433" y="4117756"/>
            <a:ext cx="2604836" cy="2343149"/>
          </a:xfrm>
        </p:spPr>
        <p:txBody>
          <a:bodyPr/>
          <a:lstStyle>
            <a:lvl1pPr algn="ctr">
              <a:defRPr sz="1400"/>
            </a:lvl1pPr>
            <a:lvl2pPr algn="ctr">
              <a:defRPr sz="1200"/>
            </a:lvl2pPr>
            <a:lvl3pPr algn="ctr">
              <a:defRPr sz="1050"/>
            </a:lvl3pPr>
            <a:lvl4pPr algn="ctr">
              <a:defRPr sz="1050"/>
            </a:lvl4pPr>
            <a:lvl5pPr algn="ctr">
              <a:defRPr sz="1050"/>
            </a:lvl5pPr>
          </a:lstStyle>
          <a:p>
            <a:pPr lvl="0"/>
            <a:r>
              <a:rPr lang="en-US"/>
              <a:t>Insert text</a:t>
            </a:r>
          </a:p>
        </p:txBody>
      </p:sp>
      <p:cxnSp>
        <p:nvCxnSpPr>
          <p:cNvPr id="23" name="Straight Connector 22">
            <a:extLst>
              <a:ext uri="{FF2B5EF4-FFF2-40B4-BE49-F238E27FC236}">
                <a16:creationId xmlns:a16="http://schemas.microsoft.com/office/drawing/2014/main" id="{CBC77B46-9371-4C84-9F7B-2047A7D5F23B}"/>
              </a:ext>
            </a:extLst>
          </p:cNvPr>
          <p:cNvCxnSpPr>
            <a:cxnSpLocks/>
          </p:cNvCxnSpPr>
          <p:nvPr/>
        </p:nvCxnSpPr>
        <p:spPr>
          <a:xfrm>
            <a:off x="3212173" y="3565895"/>
            <a:ext cx="0" cy="292329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9B4BB8A-B1DB-4DFD-9AA9-216F4BC22301}"/>
              </a:ext>
            </a:extLst>
          </p:cNvPr>
          <p:cNvCxnSpPr>
            <a:cxnSpLocks/>
          </p:cNvCxnSpPr>
          <p:nvPr/>
        </p:nvCxnSpPr>
        <p:spPr>
          <a:xfrm>
            <a:off x="6094445" y="3565895"/>
            <a:ext cx="0" cy="292329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D7B458F-A205-4C9D-AF10-EEF947AE5D6A}"/>
              </a:ext>
            </a:extLst>
          </p:cNvPr>
          <p:cNvCxnSpPr>
            <a:cxnSpLocks/>
          </p:cNvCxnSpPr>
          <p:nvPr/>
        </p:nvCxnSpPr>
        <p:spPr>
          <a:xfrm>
            <a:off x="8976717" y="3565895"/>
            <a:ext cx="0" cy="2923290"/>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FC30DDC2-FBAD-4025-A0AA-B7D910C2073C}"/>
              </a:ext>
            </a:extLst>
          </p:cNvPr>
          <p:cNvSpPr>
            <a:spLocks noGrp="1"/>
          </p:cNvSpPr>
          <p:nvPr>
            <p:ph type="body" sz="quarter" idx="14" hasCustomPrompt="1"/>
          </p:nvPr>
        </p:nvSpPr>
        <p:spPr>
          <a:xfrm>
            <a:off x="1376344"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1</a:t>
            </a:r>
          </a:p>
        </p:txBody>
      </p:sp>
      <p:sp>
        <p:nvSpPr>
          <p:cNvPr id="29" name="Text Placeholder 13">
            <a:extLst>
              <a:ext uri="{FF2B5EF4-FFF2-40B4-BE49-F238E27FC236}">
                <a16:creationId xmlns:a16="http://schemas.microsoft.com/office/drawing/2014/main" id="{A4D90C49-D9A3-4CB7-95D4-3343F85285DB}"/>
              </a:ext>
            </a:extLst>
          </p:cNvPr>
          <p:cNvSpPr>
            <a:spLocks noGrp="1"/>
          </p:cNvSpPr>
          <p:nvPr>
            <p:ph type="body" sz="quarter" idx="15" hasCustomPrompt="1"/>
          </p:nvPr>
        </p:nvSpPr>
        <p:spPr>
          <a:xfrm>
            <a:off x="4258615"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2</a:t>
            </a:r>
          </a:p>
        </p:txBody>
      </p:sp>
      <p:sp>
        <p:nvSpPr>
          <p:cNvPr id="30" name="Text Placeholder 13">
            <a:extLst>
              <a:ext uri="{FF2B5EF4-FFF2-40B4-BE49-F238E27FC236}">
                <a16:creationId xmlns:a16="http://schemas.microsoft.com/office/drawing/2014/main" id="{E667ACEF-B39B-4156-8E6C-57B0B8459FDF}"/>
              </a:ext>
            </a:extLst>
          </p:cNvPr>
          <p:cNvSpPr>
            <a:spLocks noGrp="1"/>
          </p:cNvSpPr>
          <p:nvPr>
            <p:ph type="body" sz="quarter" idx="16" hasCustomPrompt="1"/>
          </p:nvPr>
        </p:nvSpPr>
        <p:spPr>
          <a:xfrm>
            <a:off x="7140886"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3</a:t>
            </a:r>
          </a:p>
        </p:txBody>
      </p:sp>
      <p:sp>
        <p:nvSpPr>
          <p:cNvPr id="31" name="Text Placeholder 13">
            <a:extLst>
              <a:ext uri="{FF2B5EF4-FFF2-40B4-BE49-F238E27FC236}">
                <a16:creationId xmlns:a16="http://schemas.microsoft.com/office/drawing/2014/main" id="{B118890E-9593-465A-BAFE-176FB1D90E41}"/>
              </a:ext>
            </a:extLst>
          </p:cNvPr>
          <p:cNvSpPr>
            <a:spLocks noGrp="1"/>
          </p:cNvSpPr>
          <p:nvPr>
            <p:ph type="body" sz="quarter" idx="17" hasCustomPrompt="1"/>
          </p:nvPr>
        </p:nvSpPr>
        <p:spPr>
          <a:xfrm>
            <a:off x="10023158" y="2834565"/>
            <a:ext cx="789386" cy="789386"/>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200" b="1" dirty="0">
                <a:solidFill>
                  <a:schemeClr val="bg1"/>
                </a:solidFill>
              </a:defRPr>
            </a:lvl1pPr>
          </a:lstStyle>
          <a:p>
            <a:pPr lvl="0" algn="ctr"/>
            <a:r>
              <a:rPr lang="en-US"/>
              <a:t>4</a:t>
            </a:r>
          </a:p>
        </p:txBody>
      </p:sp>
    </p:spTree>
    <p:extLst>
      <p:ext uri="{BB962C8B-B14F-4D97-AF65-F5344CB8AC3E}">
        <p14:creationId xmlns:p14="http://schemas.microsoft.com/office/powerpoint/2010/main" val="60443078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points content w/ tabl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426424" y="435824"/>
            <a:ext cx="11346476" cy="744014"/>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 name="Title 11">
            <a:extLst>
              <a:ext uri="{FF2B5EF4-FFF2-40B4-BE49-F238E27FC236}">
                <a16:creationId xmlns:a16="http://schemas.microsoft.com/office/drawing/2014/main" id="{C2A33143-8275-46A9-A11A-FA4215461DE3}"/>
              </a:ext>
            </a:extLst>
          </p:cNvPr>
          <p:cNvSpPr txBox="1">
            <a:spLocks/>
          </p:cNvSpPr>
          <p:nvPr/>
        </p:nvSpPr>
        <p:spPr>
          <a:xfrm>
            <a:off x="0" y="1453106"/>
            <a:ext cx="12192000" cy="2117687"/>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285750" marR="0" indent="-285750">
              <a:lnSpc>
                <a:spcPct val="107000"/>
              </a:lnSpc>
              <a:spcBef>
                <a:spcPts val="0"/>
              </a:spcBef>
              <a:spcAft>
                <a:spcPts val="800"/>
              </a:spcAft>
              <a:buFont typeface="Arial" panose="020B0604020202020204" pitchFamily="34" charset="0"/>
              <a:buChar char="•"/>
              <a:defRPr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a:p>
        </p:txBody>
      </p:sp>
      <p:sp>
        <p:nvSpPr>
          <p:cNvPr id="25" name="Text Placeholder 3">
            <a:extLst>
              <a:ext uri="{FF2B5EF4-FFF2-40B4-BE49-F238E27FC236}">
                <a16:creationId xmlns:a16="http://schemas.microsoft.com/office/drawing/2014/main" id="{78AF258A-AF81-42F6-916F-6818A4460F2D}"/>
              </a:ext>
            </a:extLst>
          </p:cNvPr>
          <p:cNvSpPr>
            <a:spLocks noGrp="1"/>
          </p:cNvSpPr>
          <p:nvPr>
            <p:ph type="body" sz="quarter" idx="10" hasCustomPrompt="1"/>
          </p:nvPr>
        </p:nvSpPr>
        <p:spPr>
          <a:xfrm>
            <a:off x="420293" y="1682803"/>
            <a:ext cx="274320" cy="274320"/>
          </a:xfrm>
          <a:prstGeom prst="ellipse">
            <a:avLst/>
          </a:prstGeom>
          <a:solidFill>
            <a:schemeClr val="accent2"/>
          </a:solidFill>
        </p:spPr>
        <p:txBody>
          <a:bodyPr anchor="ctr"/>
          <a:lstStyle>
            <a:lvl1pPr algn="ctr">
              <a:defRPr sz="1400">
                <a:solidFill>
                  <a:schemeClr val="bg1"/>
                </a:solidFill>
                <a:latin typeface="+mj-lt"/>
              </a:defRPr>
            </a:lvl1pPr>
          </a:lstStyle>
          <a:p>
            <a:pPr lvl="0"/>
            <a:r>
              <a:rPr lang="en-US"/>
              <a:t>1</a:t>
            </a:r>
            <a:endParaRPr lang="en-IN"/>
          </a:p>
        </p:txBody>
      </p:sp>
      <p:sp>
        <p:nvSpPr>
          <p:cNvPr id="34" name="Text Placeholder 6">
            <a:extLst>
              <a:ext uri="{FF2B5EF4-FFF2-40B4-BE49-F238E27FC236}">
                <a16:creationId xmlns:a16="http://schemas.microsoft.com/office/drawing/2014/main" id="{8EAC80C6-B7F2-4D31-8A25-1FF621C1F90C}"/>
              </a:ext>
            </a:extLst>
          </p:cNvPr>
          <p:cNvSpPr>
            <a:spLocks noGrp="1"/>
          </p:cNvSpPr>
          <p:nvPr>
            <p:ph type="body" sz="quarter" idx="11" hasCustomPrompt="1"/>
          </p:nvPr>
        </p:nvSpPr>
        <p:spPr>
          <a:xfrm>
            <a:off x="814388" y="1565275"/>
            <a:ext cx="10947398" cy="509377"/>
          </a:xfrm>
        </p:spPr>
        <p:txBody>
          <a:bodyPr anchor="ctr"/>
          <a:lstStyle>
            <a:lvl1pPr>
              <a:defRPr sz="1400">
                <a:solidFill>
                  <a:schemeClr val="tx1"/>
                </a:solidFill>
                <a:latin typeface="+mn-lt"/>
              </a:defRPr>
            </a:lvl1pPr>
          </a:lstStyle>
          <a:p>
            <a:pPr lvl="0"/>
            <a:r>
              <a:rPr lang="en-US"/>
              <a:t>Enter text</a:t>
            </a:r>
            <a:endParaRPr lang="en-IN"/>
          </a:p>
        </p:txBody>
      </p:sp>
      <p:sp>
        <p:nvSpPr>
          <p:cNvPr id="35" name="Text Placeholder 3">
            <a:extLst>
              <a:ext uri="{FF2B5EF4-FFF2-40B4-BE49-F238E27FC236}">
                <a16:creationId xmlns:a16="http://schemas.microsoft.com/office/drawing/2014/main" id="{CD34743A-8303-4BB8-8E74-A0E55AD2C867}"/>
              </a:ext>
            </a:extLst>
          </p:cNvPr>
          <p:cNvSpPr>
            <a:spLocks noGrp="1"/>
          </p:cNvSpPr>
          <p:nvPr>
            <p:ph type="body" sz="quarter" idx="12" hasCustomPrompt="1"/>
          </p:nvPr>
        </p:nvSpPr>
        <p:spPr>
          <a:xfrm>
            <a:off x="420293" y="2387653"/>
            <a:ext cx="274320" cy="274320"/>
          </a:xfrm>
          <a:prstGeom prst="ellipse">
            <a:avLst/>
          </a:prstGeom>
          <a:solidFill>
            <a:schemeClr val="accent2"/>
          </a:solidFill>
        </p:spPr>
        <p:txBody>
          <a:bodyPr anchor="ctr"/>
          <a:lstStyle>
            <a:lvl1pPr algn="ctr">
              <a:defRPr lang="en-IN" sz="1400" kern="1200" spc="0" baseline="0" dirty="0">
                <a:solidFill>
                  <a:schemeClr val="bg1"/>
                </a:solidFill>
                <a:latin typeface="+mj-lt"/>
                <a:ea typeface="+mn-ea"/>
                <a:cs typeface="+mn-cs"/>
              </a:defRPr>
            </a:lvl1pPr>
          </a:lstStyle>
          <a:p>
            <a:pPr marL="0" marR="0" lvl="0" indent="0" algn="ctr"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2</a:t>
            </a:r>
            <a:endParaRPr lang="en-IN"/>
          </a:p>
        </p:txBody>
      </p:sp>
      <p:sp>
        <p:nvSpPr>
          <p:cNvPr id="36" name="Text Placeholder 6">
            <a:extLst>
              <a:ext uri="{FF2B5EF4-FFF2-40B4-BE49-F238E27FC236}">
                <a16:creationId xmlns:a16="http://schemas.microsoft.com/office/drawing/2014/main" id="{CB150928-321A-490C-BB81-ED9617EB1350}"/>
              </a:ext>
            </a:extLst>
          </p:cNvPr>
          <p:cNvSpPr>
            <a:spLocks noGrp="1"/>
          </p:cNvSpPr>
          <p:nvPr>
            <p:ph type="body" sz="quarter" idx="13" hasCustomPrompt="1"/>
          </p:nvPr>
        </p:nvSpPr>
        <p:spPr>
          <a:xfrm>
            <a:off x="814388" y="2270125"/>
            <a:ext cx="10947398" cy="509377"/>
          </a:xfrm>
        </p:spPr>
        <p:txBody>
          <a:bodyPr anchor="ctr"/>
          <a:lstStyle>
            <a:lvl1pPr>
              <a:defRPr sz="1400">
                <a:solidFill>
                  <a:schemeClr val="tx1"/>
                </a:solidFill>
                <a:latin typeface="+mn-lt"/>
              </a:defRPr>
            </a:lvl1pPr>
          </a:lstStyle>
          <a:p>
            <a:pPr lvl="0"/>
            <a:r>
              <a:rPr lang="en-US"/>
              <a:t>Enter text</a:t>
            </a:r>
            <a:endParaRPr lang="en-IN"/>
          </a:p>
        </p:txBody>
      </p:sp>
      <p:sp>
        <p:nvSpPr>
          <p:cNvPr id="37" name="Text Placeholder 3">
            <a:extLst>
              <a:ext uri="{FF2B5EF4-FFF2-40B4-BE49-F238E27FC236}">
                <a16:creationId xmlns:a16="http://schemas.microsoft.com/office/drawing/2014/main" id="{AB83AC4F-7A02-4873-B2D3-D1E2FC26552B}"/>
              </a:ext>
            </a:extLst>
          </p:cNvPr>
          <p:cNvSpPr>
            <a:spLocks noGrp="1"/>
          </p:cNvSpPr>
          <p:nvPr>
            <p:ph type="body" sz="quarter" idx="14" hasCustomPrompt="1"/>
          </p:nvPr>
        </p:nvSpPr>
        <p:spPr>
          <a:xfrm>
            <a:off x="420293" y="3092503"/>
            <a:ext cx="274320" cy="274320"/>
          </a:xfrm>
          <a:prstGeom prst="ellipse">
            <a:avLst/>
          </a:prstGeom>
          <a:solidFill>
            <a:schemeClr val="accent2"/>
          </a:solidFill>
        </p:spPr>
        <p:txBody>
          <a:bodyPr anchor="ctr"/>
          <a:lstStyle>
            <a:lvl1pPr algn="ctr">
              <a:defRPr lang="en-IN" sz="1400" kern="1200" spc="0" baseline="0" dirty="0">
                <a:solidFill>
                  <a:schemeClr val="bg1"/>
                </a:solidFill>
                <a:latin typeface="+mj-lt"/>
                <a:ea typeface="+mn-ea"/>
                <a:cs typeface="+mn-cs"/>
              </a:defRPr>
            </a:lvl1pPr>
          </a:lstStyle>
          <a:p>
            <a:pPr marL="0" marR="0" lvl="0" indent="0" algn="ctr"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pPr>
            <a:r>
              <a:rPr lang="en-US"/>
              <a:t>3</a:t>
            </a:r>
            <a:endParaRPr lang="en-IN"/>
          </a:p>
        </p:txBody>
      </p:sp>
      <p:sp>
        <p:nvSpPr>
          <p:cNvPr id="38" name="Text Placeholder 6">
            <a:extLst>
              <a:ext uri="{FF2B5EF4-FFF2-40B4-BE49-F238E27FC236}">
                <a16:creationId xmlns:a16="http://schemas.microsoft.com/office/drawing/2014/main" id="{B5822563-6194-4064-A522-74C0317D5B7D}"/>
              </a:ext>
            </a:extLst>
          </p:cNvPr>
          <p:cNvSpPr>
            <a:spLocks noGrp="1"/>
          </p:cNvSpPr>
          <p:nvPr>
            <p:ph type="body" sz="quarter" idx="15" hasCustomPrompt="1"/>
          </p:nvPr>
        </p:nvSpPr>
        <p:spPr>
          <a:xfrm>
            <a:off x="814388" y="2974975"/>
            <a:ext cx="10947398" cy="509377"/>
          </a:xfrm>
        </p:spPr>
        <p:txBody>
          <a:bodyPr anchor="ctr"/>
          <a:lstStyle>
            <a:lvl1pPr>
              <a:defRPr sz="1400">
                <a:solidFill>
                  <a:schemeClr val="tx1"/>
                </a:solidFill>
                <a:latin typeface="+mn-lt"/>
              </a:defRPr>
            </a:lvl1pPr>
          </a:lstStyle>
          <a:p>
            <a:pPr lvl="0"/>
            <a:r>
              <a:rPr lang="en-US"/>
              <a:t>Enter text</a:t>
            </a:r>
            <a:endParaRPr lang="en-IN"/>
          </a:p>
        </p:txBody>
      </p:sp>
      <p:sp>
        <p:nvSpPr>
          <p:cNvPr id="4" name="Table Placeholder 3">
            <a:extLst>
              <a:ext uri="{FF2B5EF4-FFF2-40B4-BE49-F238E27FC236}">
                <a16:creationId xmlns:a16="http://schemas.microsoft.com/office/drawing/2014/main" id="{479AFC2B-DB30-4658-9919-9D77D08A106C}"/>
              </a:ext>
            </a:extLst>
          </p:cNvPr>
          <p:cNvSpPr>
            <a:spLocks noGrp="1"/>
          </p:cNvSpPr>
          <p:nvPr>
            <p:ph type="tbl" sz="quarter" idx="16" hasCustomPrompt="1"/>
          </p:nvPr>
        </p:nvSpPr>
        <p:spPr>
          <a:xfrm>
            <a:off x="424656" y="3746500"/>
            <a:ext cx="11342688" cy="2540000"/>
          </a:xfrm>
        </p:spPr>
        <p:txBody>
          <a:bodyPr tIns="0" bIns="914400" anchor="ctr"/>
          <a:lstStyle>
            <a:lvl1pPr algn="ctr">
              <a:defRPr sz="1600"/>
            </a:lvl1pPr>
          </a:lstStyle>
          <a:p>
            <a:r>
              <a:rPr lang="en-US"/>
              <a:t>Click here to create table</a:t>
            </a:r>
            <a:endParaRPr lang="en-IN"/>
          </a:p>
        </p:txBody>
      </p:sp>
    </p:spTree>
    <p:extLst>
      <p:ext uri="{BB962C8B-B14F-4D97-AF65-F5344CB8AC3E}">
        <p14:creationId xmlns:p14="http://schemas.microsoft.com/office/powerpoint/2010/main" val="357900561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3 Image w/ custom content">
    <p:bg>
      <p:bgPr>
        <a:solidFill>
          <a:schemeClr val="bg1">
            <a:lumMod val="95000"/>
          </a:schemeClr>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34A88642-D991-42C7-B592-4AA898156C8F}"/>
              </a:ext>
            </a:extLst>
          </p:cNvPr>
          <p:cNvSpPr>
            <a:spLocks noGrp="1"/>
          </p:cNvSpPr>
          <p:nvPr>
            <p:ph type="title"/>
          </p:nvPr>
        </p:nvSpPr>
        <p:spPr>
          <a:xfrm>
            <a:off x="426424" y="435824"/>
            <a:ext cx="6322463" cy="744014"/>
          </a:xfrm>
        </p:spPr>
        <p:txBody>
          <a:bodyPr/>
          <a:lstStyle/>
          <a:p>
            <a:r>
              <a:rPr lang="en-US"/>
              <a:t>Click to edit Master title style</a:t>
            </a:r>
          </a:p>
        </p:txBody>
      </p:sp>
      <p:sp>
        <p:nvSpPr>
          <p:cNvPr id="17" name="Title 11">
            <a:extLst>
              <a:ext uri="{FF2B5EF4-FFF2-40B4-BE49-F238E27FC236}">
                <a16:creationId xmlns:a16="http://schemas.microsoft.com/office/drawing/2014/main" id="{40DF7144-AED1-4B4E-A65B-49A07705299D}"/>
              </a:ext>
            </a:extLst>
          </p:cNvPr>
          <p:cNvSpPr txBox="1">
            <a:spLocks/>
          </p:cNvSpPr>
          <p:nvPr/>
        </p:nvSpPr>
        <p:spPr>
          <a:xfrm>
            <a:off x="0" y="4295775"/>
            <a:ext cx="6748887" cy="1810927"/>
          </a:xfrm>
          <a:prstGeom prst="rect">
            <a:avLst/>
          </a:prstGeom>
          <a:solidFill>
            <a:schemeClr val="bg1">
              <a:lumMod val="85000"/>
              <a:alpha val="45000"/>
            </a:schemeClr>
          </a:solidFill>
        </p:spPr>
        <p:txBody>
          <a:bodyPr vert="horz" wrap="square" lIns="457200" tIns="91440" rIns="182880" bIns="91440" rtlCol="0" anchor="ctr">
            <a:noAutofit/>
          </a:bodyPr>
          <a:lstStyle>
            <a:lvl1pPr algn="l" defTabSz="914367" rtl="0" eaLnBrk="1" latinLnBrk="0" hangingPunct="1">
              <a:lnSpc>
                <a:spcPct val="90000"/>
              </a:lnSpc>
              <a:spcBef>
                <a:spcPct val="0"/>
              </a:spcBef>
              <a:buNone/>
              <a:defRPr lang="en-US" sz="3000" b="0" kern="1200" cap="none" spc="-147" baseline="0" dirty="0" smtClean="0">
                <a:ln w="3175">
                  <a:noFill/>
                </a:ln>
                <a:solidFill>
                  <a:srgbClr val="000000"/>
                </a:solidFill>
                <a:effectLst/>
                <a:latin typeface="+mj-lt"/>
                <a:ea typeface="+mn-ea"/>
                <a:cs typeface="Segoe UI" pitchFamily="34" charset="0"/>
              </a:defRPr>
            </a:lvl1pPr>
          </a:lstStyle>
          <a:p>
            <a:pPr>
              <a:lnSpc>
                <a:spcPct val="100000"/>
              </a:lnSpc>
              <a:spcBef>
                <a:spcPts val="600"/>
              </a:spcBef>
            </a:pPr>
            <a:endParaRPr lang="en-US" sz="1600" spc="0" baseline="30000">
              <a:solidFill>
                <a:schemeClr val="tx1"/>
              </a:solidFill>
              <a:latin typeface="+mn-lt"/>
            </a:endParaRPr>
          </a:p>
        </p:txBody>
      </p:sp>
      <p:cxnSp>
        <p:nvCxnSpPr>
          <p:cNvPr id="18" name="Straight Connector 17">
            <a:extLst>
              <a:ext uri="{FF2B5EF4-FFF2-40B4-BE49-F238E27FC236}">
                <a16:creationId xmlns:a16="http://schemas.microsoft.com/office/drawing/2014/main" id="{D666439B-C261-4723-BA5E-49392791E4C4}"/>
              </a:ext>
            </a:extLst>
          </p:cNvPr>
          <p:cNvCxnSpPr>
            <a:cxnSpLocks/>
          </p:cNvCxnSpPr>
          <p:nvPr/>
        </p:nvCxnSpPr>
        <p:spPr>
          <a:xfrm>
            <a:off x="3491091" y="1146802"/>
            <a:ext cx="0" cy="2955925"/>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814FE0-BD65-427E-90DC-7BE78144CAC9}"/>
              </a:ext>
            </a:extLst>
          </p:cNvPr>
          <p:cNvCxnSpPr>
            <a:cxnSpLocks/>
          </p:cNvCxnSpPr>
          <p:nvPr/>
        </p:nvCxnSpPr>
        <p:spPr>
          <a:xfrm>
            <a:off x="419100" y="2624764"/>
            <a:ext cx="6143983"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Picture Placeholder 3">
            <a:extLst>
              <a:ext uri="{FF2B5EF4-FFF2-40B4-BE49-F238E27FC236}">
                <a16:creationId xmlns:a16="http://schemas.microsoft.com/office/drawing/2014/main" id="{DF23FCAE-DCAA-408C-9355-D1CEE212E8FA}"/>
              </a:ext>
            </a:extLst>
          </p:cNvPr>
          <p:cNvSpPr>
            <a:spLocks noGrp="1"/>
          </p:cNvSpPr>
          <p:nvPr>
            <p:ph type="pic" sz="quarter" idx="10" hasCustomPrompt="1"/>
          </p:nvPr>
        </p:nvSpPr>
        <p:spPr>
          <a:xfrm flipH="1">
            <a:off x="6748886" y="45718"/>
            <a:ext cx="5443113" cy="6812281"/>
          </a:xfrm>
        </p:spPr>
        <p:txBody>
          <a:bodyPr bIns="1005840" anchor="ctr"/>
          <a:lstStyle>
            <a:lvl1pPr algn="ctr">
              <a:defRPr sz="2000">
                <a:latin typeface="+mn-lt"/>
              </a:defRPr>
            </a:lvl1pPr>
          </a:lstStyle>
          <a:p>
            <a:r>
              <a:rPr lang="en-IN"/>
              <a:t>Click here</a:t>
            </a:r>
          </a:p>
        </p:txBody>
      </p:sp>
      <p:sp>
        <p:nvSpPr>
          <p:cNvPr id="22" name="Text Placeholder 5">
            <a:extLst>
              <a:ext uri="{FF2B5EF4-FFF2-40B4-BE49-F238E27FC236}">
                <a16:creationId xmlns:a16="http://schemas.microsoft.com/office/drawing/2014/main" id="{85807E45-A0EE-43B4-BFD5-56D1831936E6}"/>
              </a:ext>
            </a:extLst>
          </p:cNvPr>
          <p:cNvSpPr>
            <a:spLocks noGrp="1"/>
          </p:cNvSpPr>
          <p:nvPr>
            <p:ph type="body" sz="quarter" idx="11" hasCustomPrompt="1"/>
          </p:nvPr>
        </p:nvSpPr>
        <p:spPr>
          <a:xfrm>
            <a:off x="426425" y="1325066"/>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3" name="Text Placeholder 5">
            <a:extLst>
              <a:ext uri="{FF2B5EF4-FFF2-40B4-BE49-F238E27FC236}">
                <a16:creationId xmlns:a16="http://schemas.microsoft.com/office/drawing/2014/main" id="{55B2B29A-A883-4C8E-8E55-AFB404D79CA8}"/>
              </a:ext>
            </a:extLst>
          </p:cNvPr>
          <p:cNvSpPr>
            <a:spLocks noGrp="1"/>
          </p:cNvSpPr>
          <p:nvPr>
            <p:ph type="body" sz="quarter" idx="12" hasCustomPrompt="1"/>
          </p:nvPr>
        </p:nvSpPr>
        <p:spPr>
          <a:xfrm>
            <a:off x="3719762" y="1325066"/>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4" name="Text Placeholder 5">
            <a:extLst>
              <a:ext uri="{FF2B5EF4-FFF2-40B4-BE49-F238E27FC236}">
                <a16:creationId xmlns:a16="http://schemas.microsoft.com/office/drawing/2014/main" id="{3592F741-3F25-40E4-9CFF-8A51301B6C40}"/>
              </a:ext>
            </a:extLst>
          </p:cNvPr>
          <p:cNvSpPr>
            <a:spLocks noGrp="1"/>
          </p:cNvSpPr>
          <p:nvPr>
            <p:ph type="body" sz="quarter" idx="13" hasCustomPrompt="1"/>
          </p:nvPr>
        </p:nvSpPr>
        <p:spPr>
          <a:xfrm>
            <a:off x="426425" y="2854121"/>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6" name="Text Placeholder 5">
            <a:extLst>
              <a:ext uri="{FF2B5EF4-FFF2-40B4-BE49-F238E27FC236}">
                <a16:creationId xmlns:a16="http://schemas.microsoft.com/office/drawing/2014/main" id="{C52DFC1B-8B6B-439C-83B9-95653C2E3595}"/>
              </a:ext>
            </a:extLst>
          </p:cNvPr>
          <p:cNvSpPr>
            <a:spLocks noGrp="1"/>
          </p:cNvSpPr>
          <p:nvPr>
            <p:ph type="body" sz="quarter" idx="14" hasCustomPrompt="1"/>
          </p:nvPr>
        </p:nvSpPr>
        <p:spPr>
          <a:xfrm>
            <a:off x="3719762" y="2854121"/>
            <a:ext cx="2868953" cy="1096785"/>
          </a:xfrm>
        </p:spPr>
        <p:txBody>
          <a:bodyPr anchor="ctr"/>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7" name="Text Placeholder 5">
            <a:extLst>
              <a:ext uri="{FF2B5EF4-FFF2-40B4-BE49-F238E27FC236}">
                <a16:creationId xmlns:a16="http://schemas.microsoft.com/office/drawing/2014/main" id="{714DF4EC-7632-4219-BF0A-88C028AE9863}"/>
              </a:ext>
            </a:extLst>
          </p:cNvPr>
          <p:cNvSpPr>
            <a:spLocks noGrp="1"/>
          </p:cNvSpPr>
          <p:nvPr>
            <p:ph type="body" sz="quarter" idx="15" hasCustomPrompt="1"/>
          </p:nvPr>
        </p:nvSpPr>
        <p:spPr>
          <a:xfrm>
            <a:off x="426425" y="4423841"/>
            <a:ext cx="6162290" cy="1565479"/>
          </a:xfrm>
        </p:spPr>
        <p:txBody>
          <a:bodyPr anchor="t"/>
          <a:lstStyle>
            <a:lvl1pPr>
              <a:defRPr lang="en-US" sz="2400" b="0" kern="1200" cap="none" spc="0" baseline="0" dirty="0" smtClean="0">
                <a:ln w="3175">
                  <a:noFill/>
                </a:ln>
                <a:solidFill>
                  <a:srgbClr val="127010"/>
                </a:solidFill>
                <a:effectLst/>
                <a:latin typeface="+mj-lt"/>
                <a:ea typeface="+mn-ea"/>
                <a:cs typeface="Segoe UI" pitchFamily="34" charset="0"/>
              </a:defRPr>
            </a:lvl1pPr>
            <a:lvl2pPr marL="0" indent="0">
              <a:defRPr lang="en-US" sz="160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8" name="Rectangle 27">
            <a:extLst>
              <a:ext uri="{FF2B5EF4-FFF2-40B4-BE49-F238E27FC236}">
                <a16:creationId xmlns:a16="http://schemas.microsoft.com/office/drawing/2014/main" id="{CA3A78A2-5689-4BC6-96F3-38B25A28EF80}"/>
              </a:ext>
            </a:extLst>
          </p:cNvPr>
          <p:cNvSpPr/>
          <p:nvPr/>
        </p:nvSpPr>
        <p:spPr bwMode="auto">
          <a:xfrm>
            <a:off x="0" y="0"/>
            <a:ext cx="12192000"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8315544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71713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bg1">
            <a:lumMod val="95000"/>
          </a:schemeClr>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4FD22791-FE5D-4F7B-886D-30BFE8BC797D}"/>
              </a:ext>
            </a:extLst>
          </p:cNvPr>
          <p:cNvGrpSpPr/>
          <p:nvPr/>
        </p:nvGrpSpPr>
        <p:grpSpPr>
          <a:xfrm>
            <a:off x="1" y="0"/>
            <a:ext cx="12192000" cy="6858000"/>
            <a:chOff x="1" y="0"/>
            <a:chExt cx="12192000" cy="6858000"/>
          </a:xfrm>
        </p:grpSpPr>
        <p:sp>
          <p:nvSpPr>
            <p:cNvPr id="19" name="Freeform: Shape 18">
              <a:extLst>
                <a:ext uri="{FF2B5EF4-FFF2-40B4-BE49-F238E27FC236}">
                  <a16:creationId xmlns:a16="http://schemas.microsoft.com/office/drawing/2014/main" id="{8E7B880C-7EEE-4089-9729-69330EAA6F5A}"/>
                </a:ext>
              </a:extLst>
            </p:cNvPr>
            <p:cNvSpPr/>
            <p:nvPr/>
          </p:nvSpPr>
          <p:spPr bwMode="auto">
            <a:xfrm>
              <a:off x="1" y="0"/>
              <a:ext cx="8944707" cy="6858000"/>
            </a:xfrm>
            <a:custGeom>
              <a:avLst/>
              <a:gdLst>
                <a:gd name="connsiteX0" fmla="*/ 6765344 w 8944707"/>
                <a:gd name="connsiteY0" fmla="*/ 0 h 6858000"/>
                <a:gd name="connsiteX1" fmla="*/ 8824870 w 8944707"/>
                <a:gd name="connsiteY1" fmla="*/ 0 h 6858000"/>
                <a:gd name="connsiteX2" fmla="*/ 8803725 w 8944707"/>
                <a:gd name="connsiteY2" fmla="*/ 7164 h 6858000"/>
                <a:gd name="connsiteX3" fmla="*/ 6430679 w 8944707"/>
                <a:gd name="connsiteY3" fmla="*/ 3408699 h 6858000"/>
                <a:gd name="connsiteX4" fmla="*/ 8803725 w 8944707"/>
                <a:gd name="connsiteY4" fmla="*/ 6810234 h 6858000"/>
                <a:gd name="connsiteX5" fmla="*/ 8944707 w 8944707"/>
                <a:gd name="connsiteY5" fmla="*/ 6858000 h 6858000"/>
                <a:gd name="connsiteX6" fmla="*/ 6807874 w 8944707"/>
                <a:gd name="connsiteY6" fmla="*/ 6858000 h 6858000"/>
                <a:gd name="connsiteX7" fmla="*/ 6702699 w 8944707"/>
                <a:gd name="connsiteY7" fmla="*/ 6757594 h 6858000"/>
                <a:gd name="connsiteX8" fmla="*/ 5604364 w 8944707"/>
                <a:gd name="connsiteY8" fmla="*/ 5037112 h 6858000"/>
                <a:gd name="connsiteX9" fmla="*/ 5534558 w 8944707"/>
                <a:gd name="connsiteY9" fmla="*/ 4830536 h 6858000"/>
                <a:gd name="connsiteX10" fmla="*/ 0 w 8944707"/>
                <a:gd name="connsiteY10" fmla="*/ 4830536 h 6858000"/>
                <a:gd name="connsiteX11" fmla="*/ 0 w 8944707"/>
                <a:gd name="connsiteY11" fmla="*/ 2454950 h 6858000"/>
                <a:gd name="connsiteX12" fmla="*/ 5413321 w 8944707"/>
                <a:gd name="connsiteY12" fmla="*/ 2454950 h 6858000"/>
                <a:gd name="connsiteX13" fmla="*/ 5413451 w 8944707"/>
                <a:gd name="connsiteY13" fmla="*/ 2454220 h 6858000"/>
                <a:gd name="connsiteX14" fmla="*/ 6702699 w 8944707"/>
                <a:gd name="connsiteY14" fmla="*/ 598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707" h="6858000">
                  <a:moveTo>
                    <a:pt x="6765344" y="0"/>
                  </a:moveTo>
                  <a:lnTo>
                    <a:pt x="8824870" y="0"/>
                  </a:lnTo>
                  <a:lnTo>
                    <a:pt x="8803725" y="7164"/>
                  </a:lnTo>
                  <a:cubicBezTo>
                    <a:pt x="7418946" y="514866"/>
                    <a:pt x="6430679" y="1846222"/>
                    <a:pt x="6430679" y="3408699"/>
                  </a:cubicBezTo>
                  <a:cubicBezTo>
                    <a:pt x="6430679" y="4971177"/>
                    <a:pt x="7418946" y="6302533"/>
                    <a:pt x="8803725" y="6810234"/>
                  </a:cubicBezTo>
                  <a:lnTo>
                    <a:pt x="8944707" y="6858000"/>
                  </a:lnTo>
                  <a:lnTo>
                    <a:pt x="6807874" y="6858000"/>
                  </a:lnTo>
                  <a:lnTo>
                    <a:pt x="6702699" y="6757594"/>
                  </a:lnTo>
                  <a:cubicBezTo>
                    <a:pt x="6221236" y="6275499"/>
                    <a:pt x="5843088" y="5689953"/>
                    <a:pt x="5604364" y="5037112"/>
                  </a:cubicBezTo>
                  <a:lnTo>
                    <a:pt x="5534558" y="4830536"/>
                  </a:lnTo>
                  <a:lnTo>
                    <a:pt x="0" y="4830536"/>
                  </a:lnTo>
                  <a:lnTo>
                    <a:pt x="0" y="2454950"/>
                  </a:lnTo>
                  <a:lnTo>
                    <a:pt x="5413321" y="2454950"/>
                  </a:lnTo>
                  <a:lnTo>
                    <a:pt x="5413451" y="2454220"/>
                  </a:lnTo>
                  <a:cubicBezTo>
                    <a:pt x="5602469" y="1529304"/>
                    <a:pt x="6060748" y="702598"/>
                    <a:pt x="6702699" y="59804"/>
                  </a:cubicBez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0" name="Freeform: Shape 19">
              <a:extLst>
                <a:ext uri="{FF2B5EF4-FFF2-40B4-BE49-F238E27FC236}">
                  <a16:creationId xmlns:a16="http://schemas.microsoft.com/office/drawing/2014/main" id="{F58EC76B-5A7E-43F2-8BFB-0CE7BDEF83E2}"/>
                </a:ext>
              </a:extLst>
            </p:cNvPr>
            <p:cNvSpPr/>
            <p:nvPr/>
          </p:nvSpPr>
          <p:spPr bwMode="auto">
            <a:xfrm>
              <a:off x="11269548" y="0"/>
              <a:ext cx="922453" cy="495014"/>
            </a:xfrm>
            <a:custGeom>
              <a:avLst/>
              <a:gdLst>
                <a:gd name="connsiteX0" fmla="*/ 0 w 922453"/>
                <a:gd name="connsiteY0" fmla="*/ 0 h 495014"/>
                <a:gd name="connsiteX1" fmla="*/ 922453 w 922453"/>
                <a:gd name="connsiteY1" fmla="*/ 0 h 495014"/>
                <a:gd name="connsiteX2" fmla="*/ 922453 w 922453"/>
                <a:gd name="connsiteY2" fmla="*/ 495014 h 495014"/>
                <a:gd name="connsiteX3" fmla="*/ 754363 w 922453"/>
                <a:gd name="connsiteY3" fmla="*/ 375710 h 495014"/>
                <a:gd name="connsiteX4" fmla="*/ 21145 w 922453"/>
                <a:gd name="connsiteY4" fmla="*/ 7164 h 495014"/>
                <a:gd name="connsiteX5" fmla="*/ 0 w 922453"/>
                <a:gd name="connsiteY5" fmla="*/ 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2453" h="495014">
                  <a:moveTo>
                    <a:pt x="0" y="0"/>
                  </a:moveTo>
                  <a:lnTo>
                    <a:pt x="922453" y="0"/>
                  </a:lnTo>
                  <a:lnTo>
                    <a:pt x="922453" y="495014"/>
                  </a:lnTo>
                  <a:lnTo>
                    <a:pt x="754363" y="375710"/>
                  </a:lnTo>
                  <a:cubicBezTo>
                    <a:pt x="526497" y="226509"/>
                    <a:pt x="280791" y="102358"/>
                    <a:pt x="21145" y="7164"/>
                  </a:cubicBezTo>
                  <a:lnTo>
                    <a:pt x="0" y="0"/>
                  </a:ln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 name="Freeform: Shape 20">
              <a:extLst>
                <a:ext uri="{FF2B5EF4-FFF2-40B4-BE49-F238E27FC236}">
                  <a16:creationId xmlns:a16="http://schemas.microsoft.com/office/drawing/2014/main" id="{FAFEE4D6-E46F-43B7-98BC-AD39FDEEE4E6}"/>
                </a:ext>
              </a:extLst>
            </p:cNvPr>
            <p:cNvSpPr/>
            <p:nvPr/>
          </p:nvSpPr>
          <p:spPr bwMode="auto">
            <a:xfrm>
              <a:off x="11149710" y="6322384"/>
              <a:ext cx="1042290" cy="535616"/>
            </a:xfrm>
            <a:custGeom>
              <a:avLst/>
              <a:gdLst>
                <a:gd name="connsiteX0" fmla="*/ 1042290 w 1042290"/>
                <a:gd name="connsiteY0" fmla="*/ 0 h 535616"/>
                <a:gd name="connsiteX1" fmla="*/ 1042290 w 1042290"/>
                <a:gd name="connsiteY1" fmla="*/ 535616 h 535616"/>
                <a:gd name="connsiteX2" fmla="*/ 0 w 1042290"/>
                <a:gd name="connsiteY2" fmla="*/ 535616 h 535616"/>
                <a:gd name="connsiteX3" fmla="*/ 140982 w 1042290"/>
                <a:gd name="connsiteY3" fmla="*/ 487850 h 535616"/>
                <a:gd name="connsiteX4" fmla="*/ 874200 w 1042290"/>
                <a:gd name="connsiteY4" fmla="*/ 119304 h 535616"/>
                <a:gd name="connsiteX5" fmla="*/ 1042290 w 1042290"/>
                <a:gd name="connsiteY5" fmla="*/ 0 h 53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2290" h="535616">
                  <a:moveTo>
                    <a:pt x="1042290" y="0"/>
                  </a:moveTo>
                  <a:lnTo>
                    <a:pt x="1042290" y="535616"/>
                  </a:lnTo>
                  <a:lnTo>
                    <a:pt x="0" y="535616"/>
                  </a:lnTo>
                  <a:lnTo>
                    <a:pt x="140982" y="487850"/>
                  </a:lnTo>
                  <a:cubicBezTo>
                    <a:pt x="400628" y="392656"/>
                    <a:pt x="646334" y="268506"/>
                    <a:pt x="874200" y="119304"/>
                  </a:cubicBezTo>
                  <a:lnTo>
                    <a:pt x="1042290" y="0"/>
                  </a:ln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indent="-285750" algn="l">
                <a:lnSpc>
                  <a:spcPct val="107000"/>
                </a:lnSpc>
                <a:spcBef>
                  <a:spcPts val="0"/>
                </a:spcBef>
                <a:spcAft>
                  <a:spcPts val="800"/>
                </a:spcAft>
                <a:buFont typeface="Arial" panose="020B0604020202020204" pitchFamily="34" charset="0"/>
                <a:buChar char="•"/>
              </a:pPr>
              <a:endParaRPr lang="en-US" sz="180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sp>
        <p:nvSpPr>
          <p:cNvPr id="10" name="Text Placeholder 9">
            <a:extLst>
              <a:ext uri="{FF2B5EF4-FFF2-40B4-BE49-F238E27FC236}">
                <a16:creationId xmlns:a16="http://schemas.microsoft.com/office/drawing/2014/main" id="{45ECB48D-7BDD-48EB-8E92-EEC6892CA4C5}"/>
              </a:ext>
            </a:extLst>
          </p:cNvPr>
          <p:cNvSpPr>
            <a:spLocks noGrp="1"/>
          </p:cNvSpPr>
          <p:nvPr>
            <p:ph type="body" sz="quarter" idx="10" hasCustomPrompt="1"/>
          </p:nvPr>
        </p:nvSpPr>
        <p:spPr>
          <a:xfrm>
            <a:off x="392113" y="2676525"/>
            <a:ext cx="4878387" cy="1909763"/>
          </a:xfrm>
        </p:spPr>
        <p:txBody>
          <a:bodyPr lIns="0" tIns="0" rIns="0" bIns="0" anchor="ctr"/>
          <a:lstStyle>
            <a:lvl1pPr algn="l">
              <a:defRPr sz="4800">
                <a:solidFill>
                  <a:schemeClr val="accent2"/>
                </a:solidFill>
                <a:latin typeface="+mj-lt"/>
              </a:defRPr>
            </a:lvl1pPr>
            <a:lvl5pPr>
              <a:defRPr/>
            </a:lvl5pPr>
          </a:lstStyle>
          <a:p>
            <a:pPr lvl="0"/>
            <a:r>
              <a:rPr lang="en-US"/>
              <a:t>Insert Title here</a:t>
            </a:r>
          </a:p>
        </p:txBody>
      </p:sp>
      <p:pic>
        <p:nvPicPr>
          <p:cNvPr id="26" name="Picture 2">
            <a:extLst>
              <a:ext uri="{FF2B5EF4-FFF2-40B4-BE49-F238E27FC236}">
                <a16:creationId xmlns:a16="http://schemas.microsoft.com/office/drawing/2014/main" id="{240939C1-1B9F-416D-9006-A3A8E3199D38}"/>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tretch/>
        </p:blipFill>
        <p:spPr bwMode="auto">
          <a:xfrm>
            <a:off x="7450138" y="1053306"/>
            <a:ext cx="5156200" cy="5156200"/>
          </a:xfrm>
          <a:prstGeom prst="rect">
            <a:avLst/>
          </a:prstGeom>
          <a:extLst>
            <a:ext uri="{909E8E84-426E-40DD-AFC4-6F175D3DCCD1}">
              <a14:hiddenFill xmlns:a14="http://schemas.microsoft.com/office/drawing/2010/main">
                <a:solidFill>
                  <a:srgbClr val="FFFFFF"/>
                </a:solidFill>
              </a14:hiddenFill>
            </a:ext>
          </a:extLst>
        </p:spPr>
      </p:pic>
      <p:pic>
        <p:nvPicPr>
          <p:cNvPr id="30" name="Graphic 29">
            <a:extLst>
              <a:ext uri="{FF2B5EF4-FFF2-40B4-BE49-F238E27FC236}">
                <a16:creationId xmlns:a16="http://schemas.microsoft.com/office/drawing/2014/main" id="{91587376-BA91-48FF-B8FB-0746589D890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19101" y="419787"/>
            <a:ext cx="1454150" cy="310607"/>
          </a:xfrm>
          <a:prstGeom prst="rect">
            <a:avLst/>
          </a:prstGeom>
        </p:spPr>
      </p:pic>
    </p:spTree>
    <p:extLst>
      <p:ext uri="{BB962C8B-B14F-4D97-AF65-F5344CB8AC3E}">
        <p14:creationId xmlns:p14="http://schemas.microsoft.com/office/powerpoint/2010/main" val="203359890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153304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5820989"/>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ags" Target="../tags/tag2.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ags" Target="../tags/tag1.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vmlDrawing" Target="../drawings/vmlDrawing1.v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theme" Target="../theme/theme2.xml"/><Relationship Id="rId28" Type="http://schemas.openxmlformats.org/officeDocument/2006/relationships/image" Target="../media/image42.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82963114"/>
      </p:ext>
    </p:extLst>
  </p:cSld>
  <p:clrMap bg1="lt1" tx1="dk1" bg2="lt2" tx2="dk2" accent1="accent1" accent2="accent2" accent3="accent3" accent4="accent4" accent5="accent5" accent6="accent6" hlink="hlink" folHlink="folHlink"/>
  <p:sldLayoutIdLst>
    <p:sldLayoutId id="2147484185" r:id="rId1"/>
    <p:sldLayoutId id="2147484138" r:id="rId2"/>
    <p:sldLayoutId id="2147484139" r:id="rId3"/>
    <p:sldLayoutId id="2147484140" r:id="rId4"/>
    <p:sldLayoutId id="2147484141" r:id="rId5"/>
    <p:sldLayoutId id="2147484142" r:id="rId6"/>
    <p:sldLayoutId id="2147484143" r:id="rId7"/>
    <p:sldLayoutId id="2147484144" r:id="rId8"/>
    <p:sldLayoutId id="2147484145" r:id="rId9"/>
    <p:sldLayoutId id="2147484146" r:id="rId10"/>
    <p:sldLayoutId id="2147484147" r:id="rId11"/>
    <p:sldLayoutId id="2147484148" r:id="rId12"/>
    <p:sldLayoutId id="2147484149" r:id="rId13"/>
    <p:sldLayoutId id="2147484150" r:id="rId14"/>
    <p:sldLayoutId id="2147484151" r:id="rId15"/>
    <p:sldLayoutId id="2147484152" r:id="rId16"/>
    <p:sldLayoutId id="2147484153" r:id="rId17"/>
    <p:sldLayoutId id="2147484154" r:id="rId18"/>
    <p:sldLayoutId id="2147484155" r:id="rId19"/>
    <p:sldLayoutId id="2147484156" r:id="rId20"/>
    <p:sldLayoutId id="2147484157" r:id="rId21"/>
    <p:sldLayoutId id="2147484158" r:id="rId22"/>
    <p:sldLayoutId id="2147484159" r:id="rId23"/>
    <p:sldLayoutId id="2147484160" r:id="rId24"/>
    <p:sldLayoutId id="2147484161" r:id="rId25"/>
    <p:sldLayoutId id="2147484162" r:id="rId26"/>
    <p:sldLayoutId id="2147484163" r:id="rId27"/>
    <p:sldLayoutId id="2147484164" r:id="rId28"/>
    <p:sldLayoutId id="2147484165" r:id="rId29"/>
    <p:sldLayoutId id="2147484166" r:id="rId30"/>
    <p:sldLayoutId id="2147484167" r:id="rId31"/>
    <p:sldLayoutId id="2147484168" r:id="rId32"/>
    <p:sldLayoutId id="2147484169" r:id="rId33"/>
    <p:sldLayoutId id="2147484170" r:id="rId34"/>
    <p:sldLayoutId id="2147484171" r:id="rId35"/>
    <p:sldLayoutId id="2147484172" r:id="rId36"/>
    <p:sldLayoutId id="2147484173" r:id="rId37"/>
    <p:sldLayoutId id="2147484174" r:id="rId38"/>
    <p:sldLayoutId id="2147484175" r:id="rId39"/>
    <p:sldLayoutId id="2147484176" r:id="rId40"/>
    <p:sldLayoutId id="2147484177" r:id="rId41"/>
    <p:sldLayoutId id="2147484178" r:id="rId42"/>
    <p:sldLayoutId id="2147484179" r:id="rId43"/>
    <p:sldLayoutId id="2147484180" r:id="rId44"/>
    <p:sldLayoutId id="2147484181" r:id="rId45"/>
    <p:sldLayoutId id="2147484182" r:id="rId46"/>
    <p:sldLayoutId id="2147484183" r:id="rId47"/>
    <p:sldLayoutId id="2147484184" r:id="rId4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E4AFF7-0FFC-4B0D-8A49-37F0EF90CC34}"/>
              </a:ext>
            </a:extLst>
          </p:cNvPr>
          <p:cNvGraphicFramePr>
            <a:graphicFrameLocks noChangeAspect="1"/>
          </p:cNvGraphicFramePr>
          <p:nvPr>
            <p:custDataLst>
              <p:tags r:id="rId25"/>
            </p:custDataLst>
            <p:extLst>
              <p:ext uri="{D42A27DB-BD31-4B8C-83A1-F6EECF244321}">
                <p14:modId xmlns:p14="http://schemas.microsoft.com/office/powerpoint/2010/main" val="2724424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27" imgW="425" imgH="424" progId="TCLayout.ActiveDocument.1">
                  <p:embed/>
                </p:oleObj>
              </mc:Choice>
              <mc:Fallback>
                <p:oleObj name="think-cell Slide" r:id="rId27" imgW="425" imgH="424" progId="TCLayout.ActiveDocument.1">
                  <p:embed/>
                  <p:pic>
                    <p:nvPicPr>
                      <p:cNvPr id="5" name="Object 4" hidden="1">
                        <a:extLst>
                          <a:ext uri="{FF2B5EF4-FFF2-40B4-BE49-F238E27FC236}">
                            <a16:creationId xmlns:a16="http://schemas.microsoft.com/office/drawing/2014/main" id="{7DE4AFF7-0FFC-4B0D-8A49-37F0EF90CC3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F7E766-6670-48AC-8F2B-CF42A6F426F4}"/>
              </a:ext>
            </a:extLst>
          </p:cNvPr>
          <p:cNvSpPr/>
          <p:nvPr>
            <p:custDataLst>
              <p:tags r:id="rId26"/>
            </p:custDataLst>
          </p:nvPr>
        </p:nvSpPr>
        <p:spPr bwMode="auto">
          <a:xfrm>
            <a:off x="0" y="0"/>
            <a:ext cx="158750" cy="158750"/>
          </a:xfrm>
          <a:prstGeom prst="rect">
            <a:avLst/>
          </a:prstGeom>
          <a:noFill/>
          <a:ln>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a:lnSpc>
                <a:spcPct val="107000"/>
              </a:lnSpc>
              <a:spcBef>
                <a:spcPts val="0"/>
              </a:spcBef>
              <a:spcAft>
                <a:spcPts val="800"/>
              </a:spcAft>
              <a:buFontTx/>
              <a:buNone/>
            </a:pPr>
            <a:endParaRPr lang="en-US" sz="3000" b="0" i="0" baseline="0">
              <a:solidFill>
                <a:schemeClr val="tx1"/>
              </a:solidFill>
              <a:effectLst/>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Placeholder 1"/>
          <p:cNvSpPr>
            <a:spLocks noGrp="1"/>
          </p:cNvSpPr>
          <p:nvPr>
            <p:ph type="title"/>
          </p:nvPr>
        </p:nvSpPr>
        <p:spPr>
          <a:xfrm>
            <a:off x="426424" y="435824"/>
            <a:ext cx="11336039" cy="744014"/>
          </a:xfrm>
          <a:prstGeom prst="rect">
            <a:avLst/>
          </a:prstGeom>
        </p:spPr>
        <p:txBody>
          <a:bodyPr vert="horz" wrap="square" lIns="0" tIns="0" rIns="0" bIns="0" rtlCol="0" anchor="t">
            <a:noAutofit/>
          </a:bodyPr>
          <a:lstStyle/>
          <a:p>
            <a:pPr lvl="0"/>
            <a:r>
              <a:rPr lang="en-US"/>
              <a:t>Click to edit Master title style</a:t>
            </a:r>
          </a:p>
        </p:txBody>
      </p:sp>
      <p:sp>
        <p:nvSpPr>
          <p:cNvPr id="4" name="Text Placeholder 3"/>
          <p:cNvSpPr>
            <a:spLocks noGrp="1"/>
          </p:cNvSpPr>
          <p:nvPr>
            <p:ph type="body" idx="1"/>
          </p:nvPr>
        </p:nvSpPr>
        <p:spPr>
          <a:xfrm>
            <a:off x="437319" y="1460499"/>
            <a:ext cx="11336039" cy="5091113"/>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9688138"/>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 id="2147484198" r:id="rId12"/>
    <p:sldLayoutId id="2147484199" r:id="rId13"/>
    <p:sldLayoutId id="2147484200" r:id="rId14"/>
    <p:sldLayoutId id="2147484201" r:id="rId15"/>
    <p:sldLayoutId id="2147484202" r:id="rId16"/>
    <p:sldLayoutId id="2147484203" r:id="rId17"/>
    <p:sldLayoutId id="2147484204" r:id="rId18"/>
    <p:sldLayoutId id="2147484205" r:id="rId19"/>
    <p:sldLayoutId id="2147484206" r:id="rId20"/>
    <p:sldLayoutId id="2147484207" r:id="rId21"/>
    <p:sldLayoutId id="2147484208" r:id="rId22"/>
  </p:sldLayoutIdLst>
  <p:transition>
    <p:fade/>
  </p:transition>
  <p:txStyles>
    <p:titleStyle>
      <a:lvl1pPr algn="l" defTabSz="914367" rtl="0" eaLnBrk="1" latinLnBrk="0" hangingPunct="1">
        <a:lnSpc>
          <a:spcPct val="90000"/>
        </a:lnSpc>
        <a:spcBef>
          <a:spcPct val="0"/>
        </a:spcBef>
        <a:buNone/>
        <a:defRPr lang="en-US" sz="3000" b="0" kern="1200" cap="none" spc="0" baseline="0">
          <a:ln w="3175">
            <a:noFill/>
          </a:ln>
          <a:solidFill>
            <a:schemeClr val="accent2"/>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2400" kern="1200" spc="0" baseline="0">
          <a:solidFill>
            <a:schemeClr val="tx1"/>
          </a:solidFill>
          <a:latin typeface="+mn-lt"/>
          <a:ea typeface="+mn-ea"/>
          <a:cs typeface="+mn-cs"/>
        </a:defRPr>
      </a:lvl1pPr>
      <a:lvl2pPr marL="224097"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2pPr>
      <a:lvl3pPr marL="448193"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3pPr>
      <a:lvl4pPr marL="67229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896386"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25" orient="horz" pos="280">
          <p15:clr>
            <a:srgbClr val="F26B43"/>
          </p15:clr>
        </p15:guide>
        <p15:guide id="26" orient="horz" pos="4127">
          <p15:clr>
            <a:srgbClr val="F26B43"/>
          </p15:clr>
        </p15:guide>
        <p15:guide id="31" orient="horz" pos="752">
          <p15:clr>
            <a:srgbClr val="F26B43"/>
          </p15:clr>
        </p15:guide>
        <p15:guide id="32" orient="horz" pos="9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2.xml"/><Relationship Id="rId4" Type="http://schemas.openxmlformats.org/officeDocument/2006/relationships/hyperlink" Target="https://aka.ms/vivalearningscenarios"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44.xml"/><Relationship Id="rId4" Type="http://schemas.openxmlformats.org/officeDocument/2006/relationships/image" Target="../media/image51.svg"/></Relationships>
</file>

<file path=ppt/slides/_rels/slide1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65.jpeg"/><Relationship Id="rId4" Type="http://schemas.openxmlformats.org/officeDocument/2006/relationships/image" Target="../media/image64.jpeg"/></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microsoft-365/admin/activity-reports/viva-learning-activity?view=o365-worldwide" TargetMode="External"/><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s://www.microsoft.com/trustcenter/default.aspx"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hyperlink" Target="https://docs.microsoft.com/en-us/microsoft-365/enterprise/o365-data-locations?view=o365-worldwide#countryregion-specific-data-center-city-locations"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44.xml"/><Relationship Id="rId4" Type="http://schemas.openxmlformats.org/officeDocument/2006/relationships/image" Target="../media/image51.svg"/></Relationships>
</file>

<file path=ppt/slides/_rels/slide2.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image" Target="../media/image50.jpeg"/><Relationship Id="rId7" Type="http://schemas.openxmlformats.org/officeDocument/2006/relationships/slide" Target="slide19.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12.xml"/><Relationship Id="rId5" Type="http://schemas.openxmlformats.org/officeDocument/2006/relationships/slide" Target="slide4.xml"/><Relationship Id="rId4" Type="http://schemas.openxmlformats.org/officeDocument/2006/relationships/slide" Target="slide3.xml"/><Relationship Id="rId9" Type="http://schemas.openxmlformats.org/officeDocument/2006/relationships/slide" Target="slide38.xml"/></Relationships>
</file>

<file path=ppt/slides/_rels/slide20.xml.rels><?xml version="1.0" encoding="UTF-8" standalone="yes"?>
<Relationships xmlns="http://schemas.openxmlformats.org/package/2006/relationships"><Relationship Id="rId3" Type="http://schemas.openxmlformats.org/officeDocument/2006/relationships/hyperlink" Target="https://docs.microsoft.com/en-us/MicrosoftTeams/teams-learning-app-overview#configure-learning-content-sources-in-the-microsoft-365-admin-center" TargetMode="External"/><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hyperlink" Target="https://support.microsoft.com/en-us/office/learning-app-01bfed12-c327-41e0-a68f-7fa527dcc98a?ui=en-US&amp;rs=en-US&amp;ad=U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aka.ms/vivalearningdocs"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6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68.tiff"/><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6.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44.xml"/><Relationship Id="rId4" Type="http://schemas.openxmlformats.org/officeDocument/2006/relationships/image" Target="../media/image51.svg"/></Relationships>
</file>

<file path=ppt/slides/_rels/slide2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72.jpeg"/><Relationship Id="rId5" Type="http://schemas.openxmlformats.org/officeDocument/2006/relationships/image" Target="../media/image71.jpeg"/><Relationship Id="rId4" Type="http://schemas.openxmlformats.org/officeDocument/2006/relationships/image" Target="../media/image70.jpeg"/></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xml"/><Relationship Id="rId4" Type="http://schemas.openxmlformats.org/officeDocument/2006/relationships/hyperlink" Target="aka.ms/vivalearningquickstart"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aka.ms/vivalearningquickstart" TargetMode="External"/><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44.xml"/><Relationship Id="rId4" Type="http://schemas.openxmlformats.org/officeDocument/2006/relationships/hyperlink" Target="https://aka.ms/vivalearningscenarios"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aka.ms/vivalearningadoption" TargetMode="External"/><Relationship Id="rId1" Type="http://schemas.openxmlformats.org/officeDocument/2006/relationships/slideLayout" Target="../slideLayouts/slideLayout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44.xml"/><Relationship Id="rId4" Type="http://schemas.openxmlformats.org/officeDocument/2006/relationships/image" Target="../media/image51.svg"/></Relationships>
</file>

<file path=ppt/slides/_rels/slide34.xml.rels><?xml version="1.0" encoding="UTF-8" standalone="yes"?>
<Relationships xmlns="http://schemas.openxmlformats.org/package/2006/relationships"><Relationship Id="rId3" Type="http://schemas.openxmlformats.org/officeDocument/2006/relationships/hyperlink" Target="https://docs.microsoft.com/en-us/microsoft-365/admin/activity-reports/viva-learning-activity?view=o365-worldwide" TargetMode="External"/><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81.png"/></Relationships>
</file>

<file path=ppt/slides/_rels/slide35.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5.xml"/><Relationship Id="rId1" Type="http://schemas.openxmlformats.org/officeDocument/2006/relationships/slideLayout" Target="../slideLayouts/slideLayout44.xml"/><Relationship Id="rId4" Type="http://schemas.openxmlformats.org/officeDocument/2006/relationships/image" Target="../media/image51.svg"/></Relationships>
</file>

<file path=ppt/slides/_rels/slide39.xml.rels><?xml version="1.0" encoding="UTF-8" standalone="yes"?>
<Relationships xmlns="http://schemas.openxmlformats.org/package/2006/relationships"><Relationship Id="rId8" Type="http://schemas.openxmlformats.org/officeDocument/2006/relationships/hyperlink" Target="https://aka.ms/vivalearningdemo" TargetMode="External"/><Relationship Id="rId3" Type="http://schemas.openxmlformats.org/officeDocument/2006/relationships/hyperlink" Target="https://joshbersin.com/2019/02/the-employee-experience-platform-a-new-category-arrives/" TargetMode="External"/><Relationship Id="rId7" Type="http://schemas.openxmlformats.org/officeDocument/2006/relationships/hyperlink" Target="https://docs.microsoft.com/en-us/microsoft-365/learning/?view=o365-worldwide" TargetMode="Externa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hyperlink" Target="aka.ms/VivaLearningScenarios" TargetMode="External"/><Relationship Id="rId5" Type="http://schemas.openxmlformats.org/officeDocument/2006/relationships/hyperlink" Target="../aka.ms/VivaLearningGA" TargetMode="External"/><Relationship Id="rId10" Type="http://schemas.openxmlformats.org/officeDocument/2006/relationships/image" Target="../media/image85.svg"/><Relationship Id="rId4" Type="http://schemas.openxmlformats.org/officeDocument/2006/relationships/hyperlink" Target="https://onrampprodstorage.blob.core.windows.net/assets/Microsoft%20Viva%20E-Book.pdf?sv=2018-03-28&amp;sr=b&amp;sig=vv2gGVbAcgU0Hc4IsRoNzD6JzqTckLmo8Gu4IsjnsTQ%3D&amp;se=2021-02-10T15%3A05%3A34Z&amp;sp=r" TargetMode="External"/><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44.xml"/><Relationship Id="rId4" Type="http://schemas.openxmlformats.org/officeDocument/2006/relationships/image" Target="../media/image51.sv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hyperlink" Target="https://www.microsoft.com/en-us/microsoft-viva/learning"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54.jpeg"/></Relationships>
</file>

<file path=ppt/slides/_rels/slide8.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5.jpeg"/><Relationship Id="rId5" Type="http://schemas.openxmlformats.org/officeDocument/2006/relationships/notesSlide" Target="../notesSlides/notesSlide8.xml"/><Relationship Id="rId10" Type="http://schemas.openxmlformats.org/officeDocument/2006/relationships/image" Target="../media/image57.jpeg"/><Relationship Id="rId4" Type="http://schemas.openxmlformats.org/officeDocument/2006/relationships/slideLayout" Target="../slideLayouts/slideLayout12.xml"/><Relationship Id="rId9" Type="http://schemas.openxmlformats.org/officeDocument/2006/relationships/image" Target="../media/image56.jpeg"/></Relationships>
</file>

<file path=ppt/slides/_rels/slide9.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tags" Target="../tags/tag6.xml"/><Relationship Id="rId7" Type="http://schemas.openxmlformats.org/officeDocument/2006/relationships/image" Target="../media/image4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9.xml"/><Relationship Id="rId10" Type="http://schemas.openxmlformats.org/officeDocument/2006/relationships/image" Target="../media/image60.jpeg"/><Relationship Id="rId4" Type="http://schemas.openxmlformats.org/officeDocument/2006/relationships/slideLayout" Target="../slideLayouts/slideLayout12.xml"/><Relationship Id="rId9" Type="http://schemas.openxmlformats.org/officeDocument/2006/relationships/image" Target="../media/image5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14CF944-31DC-45E1-91E8-8ADA7D6FFA39}"/>
              </a:ext>
            </a:extLst>
          </p:cNvPr>
          <p:cNvSpPr>
            <a:spLocks noGrp="1"/>
          </p:cNvSpPr>
          <p:nvPr>
            <p:ph type="title"/>
          </p:nvPr>
        </p:nvSpPr>
        <p:spPr>
          <a:xfrm>
            <a:off x="584200" y="3009980"/>
            <a:ext cx="5298440" cy="1107996"/>
          </a:xfrm>
        </p:spPr>
        <p:txBody>
          <a:bodyPr/>
          <a:lstStyle/>
          <a:p>
            <a:r>
              <a:rPr lang="en-US">
                <a:solidFill>
                  <a:schemeClr val="tx1"/>
                </a:solidFill>
              </a:rPr>
              <a:t>Microsoft Viva Learning Adoption Guide</a:t>
            </a:r>
          </a:p>
        </p:txBody>
      </p:sp>
      <p:sp>
        <p:nvSpPr>
          <p:cNvPr id="3" name="Text Placeholder 2">
            <a:extLst>
              <a:ext uri="{FF2B5EF4-FFF2-40B4-BE49-F238E27FC236}">
                <a16:creationId xmlns:a16="http://schemas.microsoft.com/office/drawing/2014/main" id="{8F9F2716-F05F-4C33-8B1F-234E31737A28}"/>
              </a:ext>
            </a:extLst>
          </p:cNvPr>
          <p:cNvSpPr>
            <a:spLocks noGrp="1"/>
          </p:cNvSpPr>
          <p:nvPr>
            <p:ph type="body" sz="quarter" idx="12"/>
          </p:nvPr>
        </p:nvSpPr>
        <p:spPr>
          <a:xfrm>
            <a:off x="584200" y="4546600"/>
            <a:ext cx="5298440" cy="246221"/>
          </a:xfrm>
        </p:spPr>
        <p:txBody>
          <a:bodyPr vert="horz" wrap="square" lIns="0" tIns="0" rIns="0" bIns="0" rtlCol="0" anchor="t">
            <a:spAutoFit/>
          </a:bodyPr>
          <a:lstStyle/>
          <a:p>
            <a:r>
              <a:rPr lang="en-US">
                <a:solidFill>
                  <a:schemeClr val="accent1"/>
                </a:solidFill>
                <a:cs typeface="Segoe UI"/>
              </a:rPr>
              <a:t>Updated March 2022</a:t>
            </a:r>
          </a:p>
        </p:txBody>
      </p:sp>
    </p:spTree>
    <p:extLst>
      <p:ext uri="{BB962C8B-B14F-4D97-AF65-F5344CB8AC3E}">
        <p14:creationId xmlns:p14="http://schemas.microsoft.com/office/powerpoint/2010/main" val="28885290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24B0FF-7E06-4C1A-ACEF-CA22468BB7C5}"/>
              </a:ext>
            </a:extLst>
          </p:cNvPr>
          <p:cNvSpPr>
            <a:spLocks noGrp="1"/>
          </p:cNvSpPr>
          <p:nvPr>
            <p:ph type="title"/>
          </p:nvPr>
        </p:nvSpPr>
        <p:spPr/>
        <p:txBody>
          <a:bodyPr/>
          <a:lstStyle/>
          <a:p>
            <a:r>
              <a:rPr lang="en-US"/>
              <a:t>Scenario guide</a:t>
            </a:r>
          </a:p>
        </p:txBody>
      </p:sp>
      <p:pic>
        <p:nvPicPr>
          <p:cNvPr id="4" name="Picture 3">
            <a:extLst>
              <a:ext uri="{FF2B5EF4-FFF2-40B4-BE49-F238E27FC236}">
                <a16:creationId xmlns:a16="http://schemas.microsoft.com/office/drawing/2014/main" id="{486B2FB9-3F6D-42CD-B435-82B7934CC919}"/>
              </a:ext>
            </a:extLst>
          </p:cNvPr>
          <p:cNvPicPr>
            <a:picLocks noChangeAspect="1"/>
          </p:cNvPicPr>
          <p:nvPr/>
        </p:nvPicPr>
        <p:blipFill rotWithShape="1">
          <a:blip r:embed="rId2"/>
          <a:srcRect t="1096"/>
          <a:stretch/>
        </p:blipFill>
        <p:spPr>
          <a:xfrm>
            <a:off x="6167720" y="1541524"/>
            <a:ext cx="5638082" cy="3586288"/>
          </a:xfrm>
          <a:prstGeom prst="rect">
            <a:avLst/>
          </a:prstGeom>
        </p:spPr>
      </p:pic>
      <p:pic>
        <p:nvPicPr>
          <p:cNvPr id="6" name="Picture 5">
            <a:extLst>
              <a:ext uri="{FF2B5EF4-FFF2-40B4-BE49-F238E27FC236}">
                <a16:creationId xmlns:a16="http://schemas.microsoft.com/office/drawing/2014/main" id="{CC0E4755-F4CD-4636-816D-7C926AE2C420}"/>
              </a:ext>
            </a:extLst>
          </p:cNvPr>
          <p:cNvPicPr>
            <a:picLocks noChangeAspect="1"/>
          </p:cNvPicPr>
          <p:nvPr/>
        </p:nvPicPr>
        <p:blipFill>
          <a:blip r:embed="rId3"/>
          <a:stretch>
            <a:fillRect/>
          </a:stretch>
        </p:blipFill>
        <p:spPr>
          <a:xfrm>
            <a:off x="397889" y="1541524"/>
            <a:ext cx="5447099" cy="3308947"/>
          </a:xfrm>
          <a:prstGeom prst="rect">
            <a:avLst/>
          </a:prstGeom>
        </p:spPr>
      </p:pic>
      <p:sp>
        <p:nvSpPr>
          <p:cNvPr id="7" name="TextBox 6">
            <a:extLst>
              <a:ext uri="{FF2B5EF4-FFF2-40B4-BE49-F238E27FC236}">
                <a16:creationId xmlns:a16="http://schemas.microsoft.com/office/drawing/2014/main" id="{16D3BFBB-A9F1-402B-9312-59B4B2404F36}"/>
              </a:ext>
            </a:extLst>
          </p:cNvPr>
          <p:cNvSpPr txBox="1"/>
          <p:nvPr/>
        </p:nvSpPr>
        <p:spPr>
          <a:xfrm>
            <a:off x="2218764" y="6093023"/>
            <a:ext cx="7252447" cy="307777"/>
          </a:xfrm>
          <a:prstGeom prst="rect">
            <a:avLst/>
          </a:prstGeom>
          <a:noFill/>
        </p:spPr>
        <p:txBody>
          <a:bodyPr wrap="square" lIns="0" tIns="0" rIns="0" bIns="0" rtlCol="0">
            <a:spAutoFit/>
          </a:bodyPr>
          <a:lstStyle/>
          <a:p>
            <a:pPr algn="ctr"/>
            <a:r>
              <a:rPr lang="en-US" sz="2000"/>
              <a:t>Download the full guide at </a:t>
            </a:r>
            <a:r>
              <a:rPr lang="en-US" sz="2000">
                <a:hlinkClick r:id="rId4"/>
              </a:rPr>
              <a:t>aka.ms/</a:t>
            </a:r>
            <a:r>
              <a:rPr lang="en-US" sz="2000" err="1">
                <a:hlinkClick r:id="rId4"/>
              </a:rPr>
              <a:t>VivaLearningScenarios</a:t>
            </a:r>
            <a:endParaRPr lang="en-US" sz="2000"/>
          </a:p>
        </p:txBody>
      </p:sp>
    </p:spTree>
    <p:extLst>
      <p:ext uri="{BB962C8B-B14F-4D97-AF65-F5344CB8AC3E}">
        <p14:creationId xmlns:p14="http://schemas.microsoft.com/office/powerpoint/2010/main" val="400203820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id="{060CEB39-42AF-425D-BF72-6E7D4716F1D6}"/>
              </a:ext>
            </a:extLst>
          </p:cNvPr>
          <p:cNvSpPr/>
          <p:nvPr/>
        </p:nvSpPr>
        <p:spPr bwMode="auto">
          <a:xfrm>
            <a:off x="6205391" y="1857825"/>
            <a:ext cx="5986609" cy="441121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8" name="Rectangle 67">
            <a:extLst>
              <a:ext uri="{FF2B5EF4-FFF2-40B4-BE49-F238E27FC236}">
                <a16:creationId xmlns:a16="http://schemas.microsoft.com/office/drawing/2014/main" id="{83C82B60-3BB5-4953-B1E6-F0ECAF86EB72}"/>
              </a:ext>
            </a:extLst>
          </p:cNvPr>
          <p:cNvSpPr/>
          <p:nvPr/>
        </p:nvSpPr>
        <p:spPr bwMode="auto">
          <a:xfrm>
            <a:off x="0" y="4537527"/>
            <a:ext cx="5986609" cy="173151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8C815B13-6921-4A77-ACEE-8E9345906FA2}"/>
              </a:ext>
            </a:extLst>
          </p:cNvPr>
          <p:cNvSpPr/>
          <p:nvPr/>
        </p:nvSpPr>
        <p:spPr bwMode="auto">
          <a:xfrm>
            <a:off x="0" y="1857827"/>
            <a:ext cx="5986609" cy="199027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800AB838-B6A0-4960-808F-00A9AC1C4EEC}"/>
              </a:ext>
            </a:extLst>
          </p:cNvPr>
          <p:cNvCxnSpPr>
            <a:cxnSpLocks/>
          </p:cNvCxnSpPr>
          <p:nvPr/>
        </p:nvCxnSpPr>
        <p:spPr>
          <a:xfrm>
            <a:off x="0" y="4442356"/>
            <a:ext cx="5977890" cy="0"/>
          </a:xfrm>
          <a:prstGeom prst="line">
            <a:avLst/>
          </a:prstGeom>
          <a:ln w="6350"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6A333BC7-1E1F-46A6-8245-503C7601A14F}"/>
              </a:ext>
            </a:extLst>
          </p:cNvPr>
          <p:cNvSpPr>
            <a:spLocks noGrp="1"/>
          </p:cNvSpPr>
          <p:nvPr>
            <p:ph type="title"/>
          </p:nvPr>
        </p:nvSpPr>
        <p:spPr>
          <a:xfrm>
            <a:off x="588263" y="457200"/>
            <a:ext cx="11018520" cy="553998"/>
          </a:xfrm>
        </p:spPr>
        <p:txBody>
          <a:bodyPr/>
          <a:lstStyle/>
          <a:p>
            <a:r>
              <a:rPr lang="en-US"/>
              <a:t>Assess readiness</a:t>
            </a:r>
          </a:p>
        </p:txBody>
      </p:sp>
      <p:sp>
        <p:nvSpPr>
          <p:cNvPr id="4" name="Arrow: Bent 3">
            <a:extLst>
              <a:ext uri="{FF2B5EF4-FFF2-40B4-BE49-F238E27FC236}">
                <a16:creationId xmlns:a16="http://schemas.microsoft.com/office/drawing/2014/main" id="{E77F2F21-6812-474D-A653-4E1E6B052233}"/>
              </a:ext>
            </a:extLst>
          </p:cNvPr>
          <p:cNvSpPr/>
          <p:nvPr/>
        </p:nvSpPr>
        <p:spPr bwMode="auto">
          <a:xfrm rot="5400000">
            <a:off x="897806" y="829396"/>
            <a:ext cx="4190997" cy="5986610"/>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Arrow: Bent 26">
            <a:extLst>
              <a:ext uri="{FF2B5EF4-FFF2-40B4-BE49-F238E27FC236}">
                <a16:creationId xmlns:a16="http://schemas.microsoft.com/office/drawing/2014/main" id="{36F0D07B-C325-4ADB-B043-6CC51323A936}"/>
              </a:ext>
            </a:extLst>
          </p:cNvPr>
          <p:cNvSpPr/>
          <p:nvPr/>
        </p:nvSpPr>
        <p:spPr bwMode="auto">
          <a:xfrm rot="16200000" flipH="1">
            <a:off x="7103197" y="829396"/>
            <a:ext cx="4190997" cy="5986610"/>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Arrow: U-Turn 5">
            <a:extLst>
              <a:ext uri="{FF2B5EF4-FFF2-40B4-BE49-F238E27FC236}">
                <a16:creationId xmlns:a16="http://schemas.microsoft.com/office/drawing/2014/main" id="{52F8888D-B42C-4FD9-97A4-F399695B4DF4}"/>
              </a:ext>
            </a:extLst>
          </p:cNvPr>
          <p:cNvSpPr/>
          <p:nvPr/>
        </p:nvSpPr>
        <p:spPr bwMode="auto">
          <a:xfrm rot="10800000">
            <a:off x="5986610" y="5741724"/>
            <a:ext cx="218780" cy="730514"/>
          </a:xfrm>
          <a:prstGeom prst="uturnArrow">
            <a:avLst>
              <a:gd name="adj1" fmla="val 25000"/>
              <a:gd name="adj2" fmla="val 0"/>
              <a:gd name="adj3" fmla="val 25000"/>
              <a:gd name="adj4" fmla="val 43750"/>
              <a:gd name="adj5" fmla="val 100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cxnSp>
        <p:nvCxnSpPr>
          <p:cNvPr id="11" name="Straight Connector 10">
            <a:extLst>
              <a:ext uri="{FF2B5EF4-FFF2-40B4-BE49-F238E27FC236}">
                <a16:creationId xmlns:a16="http://schemas.microsoft.com/office/drawing/2014/main" id="{4752DA62-04DA-4448-BF40-067055EFC7CA}"/>
              </a:ext>
            </a:extLst>
          </p:cNvPr>
          <p:cNvCxnSpPr>
            <a:cxnSpLocks/>
          </p:cNvCxnSpPr>
          <p:nvPr/>
        </p:nvCxnSpPr>
        <p:spPr>
          <a:xfrm>
            <a:off x="588263" y="1727200"/>
            <a:ext cx="2072387"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210E57A0-824C-493F-9F0C-6C6A14FD4311}"/>
              </a:ext>
            </a:extLst>
          </p:cNvPr>
          <p:cNvSpPr txBox="1"/>
          <p:nvPr/>
        </p:nvSpPr>
        <p:spPr>
          <a:xfrm>
            <a:off x="588263" y="4076457"/>
            <a:ext cx="2096408" cy="276999"/>
          </a:xfrm>
          <a:prstGeom prst="rect">
            <a:avLst/>
          </a:prstGeom>
          <a:noFill/>
        </p:spPr>
        <p:txBody>
          <a:bodyPr wrap="square" lIns="0" tIns="0" rIns="0" bIns="0" rtlCol="0">
            <a:noAutofit/>
          </a:bodyPr>
          <a:lstStyle/>
          <a:p>
            <a:pPr defTabSz="932563">
              <a:spcAft>
                <a:spcPts val="400"/>
              </a:spcAft>
              <a:buClr>
                <a:prstClr val="white"/>
              </a:buClr>
            </a:pPr>
            <a:r>
              <a:rPr lang="en-US" sz="2000">
                <a:ln w="3175">
                  <a:noFill/>
                </a:ln>
                <a:solidFill>
                  <a:schemeClr val="accent1"/>
                </a:solidFill>
                <a:latin typeface="+mj-lt"/>
                <a:cs typeface="Segoe UI Semibold" panose="020B0702040204020203" pitchFamily="34" charset="0"/>
              </a:rPr>
              <a:t>Readiness factors</a:t>
            </a:r>
          </a:p>
        </p:txBody>
      </p:sp>
      <p:sp>
        <p:nvSpPr>
          <p:cNvPr id="46" name="TextBox 45">
            <a:extLst>
              <a:ext uri="{FF2B5EF4-FFF2-40B4-BE49-F238E27FC236}">
                <a16:creationId xmlns:a16="http://schemas.microsoft.com/office/drawing/2014/main" id="{54E1D50E-ACBD-4801-9D3F-9ECDE10C749A}"/>
              </a:ext>
            </a:extLst>
          </p:cNvPr>
          <p:cNvSpPr txBox="1"/>
          <p:nvPr/>
        </p:nvSpPr>
        <p:spPr>
          <a:xfrm>
            <a:off x="588263" y="1361301"/>
            <a:ext cx="2096408" cy="276999"/>
          </a:xfrm>
          <a:prstGeom prst="rect">
            <a:avLst/>
          </a:prstGeom>
          <a:noFill/>
        </p:spPr>
        <p:txBody>
          <a:bodyPr wrap="square" lIns="0" tIns="0" rIns="0" bIns="0" rtlCol="0">
            <a:noAutofit/>
          </a:bodyPr>
          <a:lstStyle/>
          <a:p>
            <a:pPr defTabSz="932563">
              <a:spcAft>
                <a:spcPts val="400"/>
              </a:spcAft>
              <a:buClr>
                <a:prstClr val="white"/>
              </a:buClr>
            </a:pPr>
            <a:r>
              <a:rPr lang="en-US" sz="2000">
                <a:ln w="3175">
                  <a:noFill/>
                </a:ln>
                <a:solidFill>
                  <a:schemeClr val="accent1"/>
                </a:solidFill>
                <a:latin typeface="+mj-lt"/>
                <a:cs typeface="Segoe UI Semibold" panose="020B0702040204020203" pitchFamily="34" charset="0"/>
              </a:rPr>
              <a:t>What is Readiness</a:t>
            </a:r>
          </a:p>
        </p:txBody>
      </p:sp>
      <p:grpSp>
        <p:nvGrpSpPr>
          <p:cNvPr id="5" name="Group 4">
            <a:extLst>
              <a:ext uri="{FF2B5EF4-FFF2-40B4-BE49-F238E27FC236}">
                <a16:creationId xmlns:a16="http://schemas.microsoft.com/office/drawing/2014/main" id="{7377352C-CB32-4722-8FA9-BBE3B73DFDBA}"/>
              </a:ext>
            </a:extLst>
          </p:cNvPr>
          <p:cNvGrpSpPr/>
          <p:nvPr/>
        </p:nvGrpSpPr>
        <p:grpSpPr>
          <a:xfrm>
            <a:off x="6777990" y="1361301"/>
            <a:ext cx="3940194" cy="365899"/>
            <a:chOff x="7666589" y="1361301"/>
            <a:chExt cx="3940194" cy="365899"/>
          </a:xfrm>
        </p:grpSpPr>
        <p:cxnSp>
          <p:nvCxnSpPr>
            <p:cNvPr id="35" name="Straight Connector 34">
              <a:extLst>
                <a:ext uri="{FF2B5EF4-FFF2-40B4-BE49-F238E27FC236}">
                  <a16:creationId xmlns:a16="http://schemas.microsoft.com/office/drawing/2014/main" id="{517300E5-2C10-4FAD-9EC1-34E517AA1AC3}"/>
                </a:ext>
              </a:extLst>
            </p:cNvPr>
            <p:cNvCxnSpPr>
              <a:cxnSpLocks/>
            </p:cNvCxnSpPr>
            <p:nvPr/>
          </p:nvCxnSpPr>
          <p:spPr>
            <a:xfrm>
              <a:off x="7666589" y="1727200"/>
              <a:ext cx="3940194"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48BE57D0-7017-4FF7-BB0E-EF4E50EB28E3}"/>
                </a:ext>
              </a:extLst>
            </p:cNvPr>
            <p:cNvSpPr txBox="1"/>
            <p:nvPr/>
          </p:nvSpPr>
          <p:spPr>
            <a:xfrm>
              <a:off x="7887403" y="1361301"/>
              <a:ext cx="3719380" cy="276999"/>
            </a:xfrm>
            <a:prstGeom prst="rect">
              <a:avLst/>
            </a:prstGeom>
            <a:noFill/>
          </p:spPr>
          <p:txBody>
            <a:bodyPr wrap="square" lIns="0" tIns="0" rIns="0" bIns="0" rtlCol="0">
              <a:noAutofit/>
            </a:bodyPr>
            <a:lstStyle/>
            <a:p>
              <a:pPr defTabSz="932563">
                <a:spcAft>
                  <a:spcPts val="400"/>
                </a:spcAft>
                <a:buClr>
                  <a:prstClr val="white"/>
                </a:buClr>
              </a:pPr>
              <a:r>
                <a:rPr lang="en-US" sz="2000">
                  <a:ln w="3175">
                    <a:noFill/>
                  </a:ln>
                  <a:solidFill>
                    <a:schemeClr val="accent1"/>
                  </a:solidFill>
                  <a:latin typeface="+mj-lt"/>
                  <a:cs typeface="Segoe UI Semibold" panose="020B0702040204020203" pitchFamily="34" charset="0"/>
                </a:rPr>
                <a:t>Readiness assessment questions</a:t>
              </a:r>
            </a:p>
          </p:txBody>
        </p:sp>
      </p:grpSp>
      <p:sp>
        <p:nvSpPr>
          <p:cNvPr id="48" name="Rectangle 47">
            <a:extLst>
              <a:ext uri="{FF2B5EF4-FFF2-40B4-BE49-F238E27FC236}">
                <a16:creationId xmlns:a16="http://schemas.microsoft.com/office/drawing/2014/main" id="{1E040A6B-560A-4345-ACDD-1A77A8B414D2}"/>
              </a:ext>
            </a:extLst>
          </p:cNvPr>
          <p:cNvSpPr/>
          <p:nvPr/>
        </p:nvSpPr>
        <p:spPr>
          <a:xfrm>
            <a:off x="588263" y="1924074"/>
            <a:ext cx="5069507" cy="1857781"/>
          </a:xfrm>
          <a:prstGeom prst="rect">
            <a:avLst/>
          </a:prstGeom>
        </p:spPr>
        <p:txBody>
          <a:bodyPr wrap="square" lIns="0" tIns="0" rIns="0" bIns="0" anchor="t">
            <a:noAutofit/>
          </a:bodyPr>
          <a:lstStyle/>
          <a:p>
            <a:pPr>
              <a:spcAft>
                <a:spcPts val="300"/>
              </a:spcAft>
            </a:pPr>
            <a:r>
              <a:rPr lang="en-US" sz="1600"/>
              <a:t>Willingness and preparedness of your users and your  organization to use Microsoft Viva Learning.</a:t>
            </a:r>
          </a:p>
          <a:p>
            <a:pPr>
              <a:spcBef>
                <a:spcPts val="1200"/>
              </a:spcBef>
              <a:spcAft>
                <a:spcPts val="300"/>
              </a:spcAft>
            </a:pPr>
            <a:r>
              <a:rPr lang="en-US" sz="1600"/>
              <a:t>It’s important to determine how receptive your users will likely be to changing the way they work and adopting new technology. Your rollout plan should reflect the readiness of your organization.</a:t>
            </a:r>
          </a:p>
        </p:txBody>
      </p:sp>
      <p:sp>
        <p:nvSpPr>
          <p:cNvPr id="49" name="Rectangle 48">
            <a:extLst>
              <a:ext uri="{FF2B5EF4-FFF2-40B4-BE49-F238E27FC236}">
                <a16:creationId xmlns:a16="http://schemas.microsoft.com/office/drawing/2014/main" id="{995EF25E-A5A4-418F-8AC9-269AEE836F6B}"/>
              </a:ext>
            </a:extLst>
          </p:cNvPr>
          <p:cNvSpPr/>
          <p:nvPr/>
        </p:nvSpPr>
        <p:spPr>
          <a:xfrm>
            <a:off x="588263" y="4614605"/>
            <a:ext cx="5250831" cy="1577355"/>
          </a:xfrm>
          <a:prstGeom prst="rect">
            <a:avLst/>
          </a:prstGeom>
        </p:spPr>
        <p:txBody>
          <a:bodyPr wrap="square" lIns="0" tIns="0" rIns="0" bIns="0">
            <a:noAutofit/>
          </a:bodyPr>
          <a:lstStyle/>
          <a:p>
            <a:pPr algn="l">
              <a:spcAft>
                <a:spcPts val="600"/>
              </a:spcAft>
            </a:pPr>
            <a:r>
              <a:rPr lang="en-US" sz="1600" i="0">
                <a:effectLst/>
              </a:rPr>
              <a:t>Determining readiness and appetite for change requires:</a:t>
            </a:r>
          </a:p>
          <a:p>
            <a:pPr marL="381000" indent="-285750" algn="l">
              <a:spcAft>
                <a:spcPts val="600"/>
              </a:spcAft>
              <a:buFont typeface="Verdana" panose="020B0604030504040204" pitchFamily="34" charset="0"/>
              <a:buChar char="-"/>
            </a:pPr>
            <a:r>
              <a:rPr lang="en-US" sz="1400" b="0" i="0">
                <a:effectLst/>
              </a:rPr>
              <a:t>Clear vision of organization shift</a:t>
            </a:r>
          </a:p>
          <a:p>
            <a:pPr marL="381000" indent="-285750" algn="l">
              <a:spcAft>
                <a:spcPts val="600"/>
              </a:spcAft>
              <a:buFont typeface="Verdana" panose="020B0604030504040204" pitchFamily="34" charset="0"/>
              <a:buChar char="-"/>
            </a:pPr>
            <a:r>
              <a:rPr lang="en-US" sz="1400"/>
              <a:t>Clear vision of user shift</a:t>
            </a:r>
          </a:p>
          <a:p>
            <a:pPr marL="381000" indent="-285750" algn="l">
              <a:spcAft>
                <a:spcPts val="600"/>
              </a:spcAft>
              <a:buFont typeface="Verdana" panose="020B0604030504040204" pitchFamily="34" charset="0"/>
              <a:buChar char="-"/>
            </a:pPr>
            <a:r>
              <a:rPr lang="en-US" sz="1400" b="0" i="0">
                <a:effectLst/>
              </a:rPr>
              <a:t>Amount of overall change required</a:t>
            </a:r>
          </a:p>
          <a:p>
            <a:pPr marL="381000" indent="-285750" algn="l">
              <a:spcAft>
                <a:spcPts val="600"/>
              </a:spcAft>
              <a:buFont typeface="Verdana" panose="020B0604030504040204" pitchFamily="34" charset="0"/>
              <a:buChar char="-"/>
            </a:pPr>
            <a:r>
              <a:rPr lang="en-US" sz="1400"/>
              <a:t>Executive alignment</a:t>
            </a:r>
            <a:endParaRPr lang="en-US" sz="1400" b="0" i="0">
              <a:effectLst/>
            </a:endParaRPr>
          </a:p>
        </p:txBody>
      </p:sp>
      <p:sp>
        <p:nvSpPr>
          <p:cNvPr id="50" name="Rectangle 49">
            <a:extLst>
              <a:ext uri="{FF2B5EF4-FFF2-40B4-BE49-F238E27FC236}">
                <a16:creationId xmlns:a16="http://schemas.microsoft.com/office/drawing/2014/main" id="{8CD7B359-D725-48E6-844A-0D719C973828}"/>
              </a:ext>
            </a:extLst>
          </p:cNvPr>
          <p:cNvSpPr/>
          <p:nvPr/>
        </p:nvSpPr>
        <p:spPr>
          <a:xfrm>
            <a:off x="6579462" y="1964913"/>
            <a:ext cx="5024273" cy="3713837"/>
          </a:xfrm>
          <a:prstGeom prst="rect">
            <a:avLst/>
          </a:prstGeom>
        </p:spPr>
        <p:txBody>
          <a:bodyPr wrap="square" lIns="0" tIns="0" rIns="0" bIns="0">
            <a:noAutofit/>
          </a:bodyPr>
          <a:lstStyle/>
          <a:p>
            <a:pPr algn="l">
              <a:spcAft>
                <a:spcPts val="600"/>
              </a:spcAft>
            </a:pPr>
            <a:r>
              <a:rPr lang="en-US" sz="1600" i="0">
                <a:effectLst/>
              </a:rPr>
              <a:t>Determine readiness by asking these questions:</a:t>
            </a:r>
          </a:p>
          <a:p>
            <a:pPr marL="381000" indent="-285750" algn="l">
              <a:spcAft>
                <a:spcPts val="1200"/>
              </a:spcAft>
              <a:buFont typeface="Verdana" panose="020B0604030504040204" pitchFamily="34" charset="0"/>
              <a:buChar char="-"/>
            </a:pPr>
            <a:r>
              <a:rPr lang="en-US" sz="1400" b="0" i="0">
                <a:effectLst/>
              </a:rPr>
              <a:t>What does the organization’s current learning ecosystem look like? </a:t>
            </a:r>
          </a:p>
          <a:p>
            <a:pPr marL="381000" indent="-285750" algn="l">
              <a:spcAft>
                <a:spcPts val="1200"/>
              </a:spcAft>
              <a:buFont typeface="Verdana" panose="020B0604030504040204" pitchFamily="34" charset="0"/>
              <a:buChar char="-"/>
            </a:pPr>
            <a:r>
              <a:rPr lang="en-US" sz="1400" b="0" i="0">
                <a:effectLst/>
              </a:rPr>
              <a:t>What were the success factors when previously rolling out new technology? What were the pitfalls?</a:t>
            </a:r>
          </a:p>
          <a:p>
            <a:pPr marL="381000" indent="-285750" algn="l">
              <a:spcAft>
                <a:spcPts val="1200"/>
              </a:spcAft>
              <a:buFont typeface="Verdana" panose="020B0604030504040204" pitchFamily="34" charset="0"/>
              <a:buChar char="-"/>
            </a:pPr>
            <a:r>
              <a:rPr lang="en-US" sz="1400" b="0" i="0">
                <a:effectLst/>
              </a:rPr>
              <a:t>Are there other major rollouts happening in the organization?</a:t>
            </a:r>
          </a:p>
          <a:p>
            <a:pPr marL="381000" indent="-285750" algn="l">
              <a:spcAft>
                <a:spcPts val="1200"/>
              </a:spcAft>
              <a:buFont typeface="Verdana" panose="020B0604030504040204" pitchFamily="34" charset="0"/>
              <a:buChar char="-"/>
            </a:pPr>
            <a:r>
              <a:rPr lang="en-US" sz="1400"/>
              <a:t>What i</a:t>
            </a:r>
            <a:r>
              <a:rPr lang="en-US" sz="1400" b="0" i="0">
                <a:effectLst/>
              </a:rPr>
              <a:t>nternal resources can be leveraged to help spread awareness? (i.e. communication channels, training cadence, leadership events, etc.)</a:t>
            </a:r>
          </a:p>
          <a:p>
            <a:pPr marL="381000" indent="-285750" algn="l">
              <a:spcBef>
                <a:spcPts val="200"/>
              </a:spcBef>
              <a:spcAft>
                <a:spcPts val="300"/>
              </a:spcAft>
              <a:buFont typeface="Verdana" panose="020B0604030504040204" pitchFamily="34" charset="0"/>
              <a:buChar char="-"/>
            </a:pPr>
            <a:r>
              <a:rPr lang="en-US" sz="1400" b="0" i="0">
                <a:effectLst/>
              </a:rPr>
              <a:t>What are the benefits and risks with this roll out?</a:t>
            </a:r>
          </a:p>
          <a:p>
            <a:pPr marL="590550" lvl="1" indent="-171450">
              <a:spcBef>
                <a:spcPts val="100"/>
              </a:spcBef>
              <a:spcAft>
                <a:spcPts val="300"/>
              </a:spcAft>
              <a:buFont typeface="Courier New" panose="02070309020205020404" pitchFamily="49" charset="0"/>
              <a:buChar char="o"/>
            </a:pPr>
            <a:r>
              <a:rPr lang="en-US" sz="1200"/>
              <a:t>How can you h</a:t>
            </a:r>
            <a:r>
              <a:rPr lang="en-US" sz="1200" b="0" i="0">
                <a:effectLst/>
              </a:rPr>
              <a:t>ighlight benefits? </a:t>
            </a:r>
          </a:p>
          <a:p>
            <a:pPr marL="590550" lvl="1" indent="-171450">
              <a:spcAft>
                <a:spcPts val="1200"/>
              </a:spcAft>
              <a:buFont typeface="Courier New" panose="02070309020205020404" pitchFamily="49" charset="0"/>
              <a:buChar char="o"/>
            </a:pPr>
            <a:r>
              <a:rPr lang="en-US" sz="1200"/>
              <a:t>How can you </a:t>
            </a:r>
            <a:r>
              <a:rPr lang="en-US" sz="1200" b="0" i="0">
                <a:effectLst/>
              </a:rPr>
              <a:t>mitigate </a:t>
            </a:r>
            <a:r>
              <a:rPr lang="en-US" sz="1200"/>
              <a:t>the </a:t>
            </a:r>
            <a:r>
              <a:rPr lang="en-US" sz="1200" b="0" i="0">
                <a:effectLst/>
              </a:rPr>
              <a:t>risks?</a:t>
            </a:r>
          </a:p>
          <a:p>
            <a:pPr marL="381000" indent="-285750" algn="l">
              <a:spcAft>
                <a:spcPts val="600"/>
              </a:spcAft>
              <a:buFont typeface="Verdana" panose="020B0604030504040204" pitchFamily="34" charset="0"/>
              <a:buChar char="-"/>
            </a:pPr>
            <a:r>
              <a:rPr lang="en-US" sz="1400" b="0" i="0">
                <a:effectLst/>
              </a:rPr>
              <a:t>What will the impacting changes be?</a:t>
            </a:r>
          </a:p>
          <a:p>
            <a:pPr marL="590550" lvl="1" indent="-171450">
              <a:spcBef>
                <a:spcPts val="100"/>
              </a:spcBef>
              <a:spcAft>
                <a:spcPts val="300"/>
              </a:spcAft>
              <a:buFont typeface="Courier New" panose="02070309020205020404" pitchFamily="49" charset="0"/>
              <a:buChar char="o"/>
            </a:pPr>
            <a:r>
              <a:rPr lang="en-US" sz="1200"/>
              <a:t>Tip: Identify these by team/user group</a:t>
            </a:r>
          </a:p>
        </p:txBody>
      </p:sp>
      <p:cxnSp>
        <p:nvCxnSpPr>
          <p:cNvPr id="54" name="Straight Connector 53">
            <a:extLst>
              <a:ext uri="{FF2B5EF4-FFF2-40B4-BE49-F238E27FC236}">
                <a16:creationId xmlns:a16="http://schemas.microsoft.com/office/drawing/2014/main" id="{58EB1E1C-9D38-4A29-BA67-BC4A4B111EE5}"/>
              </a:ext>
            </a:extLst>
          </p:cNvPr>
          <p:cNvCxnSpPr>
            <a:cxnSpLocks/>
          </p:cNvCxnSpPr>
          <p:nvPr/>
        </p:nvCxnSpPr>
        <p:spPr>
          <a:xfrm>
            <a:off x="3143250" y="1727200"/>
            <a:ext cx="552450"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DC5AFE6-4569-441B-A66F-D2C840870CB3}"/>
              </a:ext>
            </a:extLst>
          </p:cNvPr>
          <p:cNvCxnSpPr>
            <a:cxnSpLocks/>
          </p:cNvCxnSpPr>
          <p:nvPr/>
        </p:nvCxnSpPr>
        <p:spPr>
          <a:xfrm>
            <a:off x="588263" y="4442356"/>
            <a:ext cx="2072387"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B0E3296-48CB-43DB-855C-3AB1510E3AFC}"/>
              </a:ext>
            </a:extLst>
          </p:cNvPr>
          <p:cNvCxnSpPr>
            <a:cxnSpLocks/>
          </p:cNvCxnSpPr>
          <p:nvPr/>
        </p:nvCxnSpPr>
        <p:spPr>
          <a:xfrm>
            <a:off x="3143250" y="4442356"/>
            <a:ext cx="552450"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B58E85BE-2C9E-42BC-B093-ECCC9B129081}"/>
              </a:ext>
            </a:extLst>
          </p:cNvPr>
          <p:cNvGrpSpPr/>
          <p:nvPr/>
        </p:nvGrpSpPr>
        <p:grpSpPr>
          <a:xfrm>
            <a:off x="3234799" y="3962931"/>
            <a:ext cx="377828" cy="377826"/>
            <a:chOff x="3234799" y="3962931"/>
            <a:chExt cx="377828" cy="377826"/>
          </a:xfrm>
        </p:grpSpPr>
        <p:sp>
          <p:nvSpPr>
            <p:cNvPr id="59" name="Oval 58">
              <a:extLst>
                <a:ext uri="{FF2B5EF4-FFF2-40B4-BE49-F238E27FC236}">
                  <a16:creationId xmlns:a16="http://schemas.microsoft.com/office/drawing/2014/main" id="{407DDE8E-C168-4673-BD5A-198F94290859}"/>
                </a:ext>
              </a:extLst>
            </p:cNvPr>
            <p:cNvSpPr/>
            <p:nvPr/>
          </p:nvSpPr>
          <p:spPr bwMode="auto">
            <a:xfrm>
              <a:off x="3234799" y="3962931"/>
              <a:ext cx="377828" cy="37782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71" name="Group 9">
              <a:extLst>
                <a:ext uri="{FF2B5EF4-FFF2-40B4-BE49-F238E27FC236}">
                  <a16:creationId xmlns:a16="http://schemas.microsoft.com/office/drawing/2014/main" id="{707D0A01-5585-4E1F-9863-D2CE1E43DB2F}"/>
                </a:ext>
              </a:extLst>
            </p:cNvPr>
            <p:cNvGrpSpPr>
              <a:grpSpLocks noChangeAspect="1"/>
            </p:cNvGrpSpPr>
            <p:nvPr/>
          </p:nvGrpSpPr>
          <p:grpSpPr bwMode="auto">
            <a:xfrm>
              <a:off x="3312337" y="4035866"/>
              <a:ext cx="222752" cy="231956"/>
              <a:chOff x="3857" y="2139"/>
              <a:chExt cx="121" cy="126"/>
            </a:xfrm>
          </p:grpSpPr>
          <p:sp>
            <p:nvSpPr>
              <p:cNvPr id="72" name="Freeform 10">
                <a:extLst>
                  <a:ext uri="{FF2B5EF4-FFF2-40B4-BE49-F238E27FC236}">
                    <a16:creationId xmlns:a16="http://schemas.microsoft.com/office/drawing/2014/main" id="{ED3A7178-CAA2-425E-B57F-CFC53AD5CC55}"/>
                  </a:ext>
                </a:extLst>
              </p:cNvPr>
              <p:cNvSpPr>
                <a:spLocks noEditPoints="1"/>
              </p:cNvSpPr>
              <p:nvPr/>
            </p:nvSpPr>
            <p:spPr bwMode="auto">
              <a:xfrm>
                <a:off x="3857" y="2204"/>
                <a:ext cx="121" cy="61"/>
              </a:xfrm>
              <a:custGeom>
                <a:avLst/>
                <a:gdLst>
                  <a:gd name="T0" fmla="*/ 28 w 86"/>
                  <a:gd name="T1" fmla="*/ 27 h 44"/>
                  <a:gd name="T2" fmla="*/ 47 w 86"/>
                  <a:gd name="T3" fmla="*/ 27 h 44"/>
                  <a:gd name="T4" fmla="*/ 54 w 86"/>
                  <a:gd name="T5" fmla="*/ 20 h 44"/>
                  <a:gd name="T6" fmla="*/ 54 w 86"/>
                  <a:gd name="T7" fmla="*/ 20 h 44"/>
                  <a:gd name="T8" fmla="*/ 47 w 86"/>
                  <a:gd name="T9" fmla="*/ 13 h 44"/>
                  <a:gd name="T10" fmla="*/ 17 w 86"/>
                  <a:gd name="T11" fmla="*/ 13 h 44"/>
                  <a:gd name="T12" fmla="*/ 0 w 86"/>
                  <a:gd name="T13" fmla="*/ 30 h 44"/>
                  <a:gd name="T14" fmla="*/ 13 w 86"/>
                  <a:gd name="T15" fmla="*/ 44 h 44"/>
                  <a:gd name="T16" fmla="*/ 16 w 86"/>
                  <a:gd name="T17" fmla="*/ 41 h 44"/>
                  <a:gd name="T18" fmla="*/ 54 w 86"/>
                  <a:gd name="T19" fmla="*/ 42 h 44"/>
                  <a:gd name="T20" fmla="*/ 83 w 86"/>
                  <a:gd name="T21" fmla="*/ 13 h 44"/>
                  <a:gd name="T22" fmla="*/ 83 w 86"/>
                  <a:gd name="T23" fmla="*/ 3 h 44"/>
                  <a:gd name="T24" fmla="*/ 83 w 86"/>
                  <a:gd name="T25" fmla="*/ 3 h 44"/>
                  <a:gd name="T26" fmla="*/ 73 w 86"/>
                  <a:gd name="T27" fmla="*/ 3 h 44"/>
                  <a:gd name="T28" fmla="*/ 54 w 86"/>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44">
                    <a:moveTo>
                      <a:pt x="28" y="27"/>
                    </a:moveTo>
                    <a:cubicBezTo>
                      <a:pt x="47" y="27"/>
                      <a:pt x="47" y="27"/>
                      <a:pt x="47" y="27"/>
                    </a:cubicBezTo>
                    <a:cubicBezTo>
                      <a:pt x="51" y="27"/>
                      <a:pt x="54" y="24"/>
                      <a:pt x="54" y="20"/>
                    </a:cubicBezTo>
                    <a:cubicBezTo>
                      <a:pt x="54" y="20"/>
                      <a:pt x="54" y="20"/>
                      <a:pt x="54" y="20"/>
                    </a:cubicBezTo>
                    <a:cubicBezTo>
                      <a:pt x="54" y="16"/>
                      <a:pt x="51" y="13"/>
                      <a:pt x="47" y="13"/>
                    </a:cubicBezTo>
                    <a:cubicBezTo>
                      <a:pt x="17" y="13"/>
                      <a:pt x="17" y="13"/>
                      <a:pt x="17" y="13"/>
                    </a:cubicBezTo>
                    <a:cubicBezTo>
                      <a:pt x="0" y="30"/>
                      <a:pt x="0" y="30"/>
                      <a:pt x="0" y="30"/>
                    </a:cubicBezTo>
                    <a:moveTo>
                      <a:pt x="13" y="44"/>
                    </a:moveTo>
                    <a:cubicBezTo>
                      <a:pt x="16" y="41"/>
                      <a:pt x="16" y="41"/>
                      <a:pt x="16" y="41"/>
                    </a:cubicBezTo>
                    <a:cubicBezTo>
                      <a:pt x="54" y="42"/>
                      <a:pt x="54" y="42"/>
                      <a:pt x="54" y="42"/>
                    </a:cubicBezTo>
                    <a:cubicBezTo>
                      <a:pt x="83" y="13"/>
                      <a:pt x="83" y="13"/>
                      <a:pt x="83" y="13"/>
                    </a:cubicBezTo>
                    <a:cubicBezTo>
                      <a:pt x="86" y="10"/>
                      <a:pt x="86" y="6"/>
                      <a:pt x="83" y="3"/>
                    </a:cubicBezTo>
                    <a:cubicBezTo>
                      <a:pt x="83" y="3"/>
                      <a:pt x="83" y="3"/>
                      <a:pt x="83" y="3"/>
                    </a:cubicBezTo>
                    <a:cubicBezTo>
                      <a:pt x="81" y="0"/>
                      <a:pt x="76" y="0"/>
                      <a:pt x="73" y="3"/>
                    </a:cubicBezTo>
                    <a:cubicBezTo>
                      <a:pt x="54" y="22"/>
                      <a:pt x="54" y="22"/>
                      <a:pt x="54" y="22"/>
                    </a:cubicBez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73" name="Freeform 11">
                <a:extLst>
                  <a:ext uri="{FF2B5EF4-FFF2-40B4-BE49-F238E27FC236}">
                    <a16:creationId xmlns:a16="http://schemas.microsoft.com/office/drawing/2014/main" id="{6C3E89FE-BD84-465C-B8E6-93FE8C12D1F8}"/>
                  </a:ext>
                </a:extLst>
              </p:cNvPr>
              <p:cNvSpPr>
                <a:spLocks/>
              </p:cNvSpPr>
              <p:nvPr/>
            </p:nvSpPr>
            <p:spPr bwMode="auto">
              <a:xfrm>
                <a:off x="3881" y="2139"/>
                <a:ext cx="61" cy="70"/>
              </a:xfrm>
              <a:custGeom>
                <a:avLst/>
                <a:gdLst>
                  <a:gd name="T0" fmla="*/ 0 w 61"/>
                  <a:gd name="T1" fmla="*/ 0 h 70"/>
                  <a:gd name="T2" fmla="*/ 61 w 61"/>
                  <a:gd name="T3" fmla="*/ 0 h 70"/>
                  <a:gd name="T4" fmla="*/ 61 w 61"/>
                  <a:gd name="T5" fmla="*/ 70 h 70"/>
                  <a:gd name="T6" fmla="*/ 0 w 61"/>
                  <a:gd name="T7" fmla="*/ 70 h 70"/>
                  <a:gd name="T8" fmla="*/ 0 w 61"/>
                  <a:gd name="T9" fmla="*/ 0 h 70"/>
                  <a:gd name="T10" fmla="*/ 0 w 61"/>
                  <a:gd name="T11" fmla="*/ 0 h 70"/>
                </a:gdLst>
                <a:ahLst/>
                <a:cxnLst>
                  <a:cxn ang="0">
                    <a:pos x="T0" y="T1"/>
                  </a:cxn>
                  <a:cxn ang="0">
                    <a:pos x="T2" y="T3"/>
                  </a:cxn>
                  <a:cxn ang="0">
                    <a:pos x="T4" y="T5"/>
                  </a:cxn>
                  <a:cxn ang="0">
                    <a:pos x="T6" y="T7"/>
                  </a:cxn>
                  <a:cxn ang="0">
                    <a:pos x="T8" y="T9"/>
                  </a:cxn>
                  <a:cxn ang="0">
                    <a:pos x="T10" y="T11"/>
                  </a:cxn>
                </a:cxnLst>
                <a:rect l="0" t="0" r="r" b="b"/>
                <a:pathLst>
                  <a:path w="61" h="70">
                    <a:moveTo>
                      <a:pt x="0" y="0"/>
                    </a:moveTo>
                    <a:lnTo>
                      <a:pt x="61" y="0"/>
                    </a:lnTo>
                    <a:lnTo>
                      <a:pt x="61" y="70"/>
                    </a:lnTo>
                    <a:lnTo>
                      <a:pt x="0" y="70"/>
                    </a:lnTo>
                    <a:lnTo>
                      <a:pt x="0" y="0"/>
                    </a:lnTo>
                    <a:lnTo>
                      <a:pt x="0" y="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74" name="Line 12">
                <a:extLst>
                  <a:ext uri="{FF2B5EF4-FFF2-40B4-BE49-F238E27FC236}">
                    <a16:creationId xmlns:a16="http://schemas.microsoft.com/office/drawing/2014/main" id="{BE853E90-953E-472E-8A05-0F8623E5B162}"/>
                  </a:ext>
                </a:extLst>
              </p:cNvPr>
              <p:cNvSpPr>
                <a:spLocks noChangeShapeType="1"/>
              </p:cNvSpPr>
              <p:nvPr/>
            </p:nvSpPr>
            <p:spPr bwMode="auto">
              <a:xfrm>
                <a:off x="3912" y="2156"/>
                <a:ext cx="21"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75" name="Freeform 13">
                <a:extLst>
                  <a:ext uri="{FF2B5EF4-FFF2-40B4-BE49-F238E27FC236}">
                    <a16:creationId xmlns:a16="http://schemas.microsoft.com/office/drawing/2014/main" id="{32225618-0D0E-4F6E-AA9B-36D510EF52ED}"/>
                  </a:ext>
                </a:extLst>
              </p:cNvPr>
              <p:cNvSpPr>
                <a:spLocks/>
              </p:cNvSpPr>
              <p:nvPr/>
            </p:nvSpPr>
            <p:spPr bwMode="auto">
              <a:xfrm>
                <a:off x="3890" y="2149"/>
                <a:ext cx="17" cy="10"/>
              </a:xfrm>
              <a:custGeom>
                <a:avLst/>
                <a:gdLst>
                  <a:gd name="T0" fmla="*/ 0 w 17"/>
                  <a:gd name="T1" fmla="*/ 4 h 10"/>
                  <a:gd name="T2" fmla="*/ 5 w 17"/>
                  <a:gd name="T3" fmla="*/ 10 h 10"/>
                  <a:gd name="T4" fmla="*/ 17 w 17"/>
                  <a:gd name="T5" fmla="*/ 0 h 10"/>
                </a:gdLst>
                <a:ahLst/>
                <a:cxnLst>
                  <a:cxn ang="0">
                    <a:pos x="T0" y="T1"/>
                  </a:cxn>
                  <a:cxn ang="0">
                    <a:pos x="T2" y="T3"/>
                  </a:cxn>
                  <a:cxn ang="0">
                    <a:pos x="T4" y="T5"/>
                  </a:cxn>
                </a:cxnLst>
                <a:rect l="0" t="0" r="r" b="b"/>
                <a:pathLst>
                  <a:path w="17" h="10">
                    <a:moveTo>
                      <a:pt x="0" y="4"/>
                    </a:moveTo>
                    <a:lnTo>
                      <a:pt x="5" y="10"/>
                    </a:lnTo>
                    <a:lnTo>
                      <a:pt x="17"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76" name="Freeform 14">
                <a:extLst>
                  <a:ext uri="{FF2B5EF4-FFF2-40B4-BE49-F238E27FC236}">
                    <a16:creationId xmlns:a16="http://schemas.microsoft.com/office/drawing/2014/main" id="{9FEBE6C2-CFD2-42E4-9141-D81A261846CF}"/>
                  </a:ext>
                </a:extLst>
              </p:cNvPr>
              <p:cNvSpPr>
                <a:spLocks/>
              </p:cNvSpPr>
              <p:nvPr/>
            </p:nvSpPr>
            <p:spPr bwMode="auto">
              <a:xfrm>
                <a:off x="3890" y="2167"/>
                <a:ext cx="17" cy="12"/>
              </a:xfrm>
              <a:custGeom>
                <a:avLst/>
                <a:gdLst>
                  <a:gd name="T0" fmla="*/ 0 w 17"/>
                  <a:gd name="T1" fmla="*/ 6 h 12"/>
                  <a:gd name="T2" fmla="*/ 5 w 17"/>
                  <a:gd name="T3" fmla="*/ 12 h 12"/>
                  <a:gd name="T4" fmla="*/ 17 w 17"/>
                  <a:gd name="T5" fmla="*/ 0 h 12"/>
                </a:gdLst>
                <a:ahLst/>
                <a:cxnLst>
                  <a:cxn ang="0">
                    <a:pos x="T0" y="T1"/>
                  </a:cxn>
                  <a:cxn ang="0">
                    <a:pos x="T2" y="T3"/>
                  </a:cxn>
                  <a:cxn ang="0">
                    <a:pos x="T4" y="T5"/>
                  </a:cxn>
                </a:cxnLst>
                <a:rect l="0" t="0" r="r" b="b"/>
                <a:pathLst>
                  <a:path w="17" h="12">
                    <a:moveTo>
                      <a:pt x="0" y="6"/>
                    </a:moveTo>
                    <a:lnTo>
                      <a:pt x="5" y="12"/>
                    </a:lnTo>
                    <a:lnTo>
                      <a:pt x="17"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77" name="Freeform 15">
                <a:extLst>
                  <a:ext uri="{FF2B5EF4-FFF2-40B4-BE49-F238E27FC236}">
                    <a16:creationId xmlns:a16="http://schemas.microsoft.com/office/drawing/2014/main" id="{EF53395E-93B6-440E-A995-9C27253F17D2}"/>
                  </a:ext>
                </a:extLst>
              </p:cNvPr>
              <p:cNvSpPr>
                <a:spLocks/>
              </p:cNvSpPr>
              <p:nvPr/>
            </p:nvSpPr>
            <p:spPr bwMode="auto">
              <a:xfrm>
                <a:off x="3890" y="2187"/>
                <a:ext cx="17" cy="10"/>
              </a:xfrm>
              <a:custGeom>
                <a:avLst/>
                <a:gdLst>
                  <a:gd name="T0" fmla="*/ 0 w 17"/>
                  <a:gd name="T1" fmla="*/ 4 h 10"/>
                  <a:gd name="T2" fmla="*/ 5 w 17"/>
                  <a:gd name="T3" fmla="*/ 10 h 10"/>
                  <a:gd name="T4" fmla="*/ 17 w 17"/>
                  <a:gd name="T5" fmla="*/ 0 h 10"/>
                </a:gdLst>
                <a:ahLst/>
                <a:cxnLst>
                  <a:cxn ang="0">
                    <a:pos x="T0" y="T1"/>
                  </a:cxn>
                  <a:cxn ang="0">
                    <a:pos x="T2" y="T3"/>
                  </a:cxn>
                  <a:cxn ang="0">
                    <a:pos x="T4" y="T5"/>
                  </a:cxn>
                </a:cxnLst>
                <a:rect l="0" t="0" r="r" b="b"/>
                <a:pathLst>
                  <a:path w="17" h="10">
                    <a:moveTo>
                      <a:pt x="0" y="4"/>
                    </a:moveTo>
                    <a:lnTo>
                      <a:pt x="5" y="10"/>
                    </a:lnTo>
                    <a:lnTo>
                      <a:pt x="17"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78" name="Line 16">
                <a:extLst>
                  <a:ext uri="{FF2B5EF4-FFF2-40B4-BE49-F238E27FC236}">
                    <a16:creationId xmlns:a16="http://schemas.microsoft.com/office/drawing/2014/main" id="{62F78C02-C6E7-4526-B5B4-ACB95503C8AF}"/>
                  </a:ext>
                </a:extLst>
              </p:cNvPr>
              <p:cNvSpPr>
                <a:spLocks noChangeShapeType="1"/>
              </p:cNvSpPr>
              <p:nvPr/>
            </p:nvSpPr>
            <p:spPr bwMode="auto">
              <a:xfrm>
                <a:off x="3912" y="2174"/>
                <a:ext cx="21"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sp>
            <p:nvSpPr>
              <p:cNvPr id="79" name="Line 17">
                <a:extLst>
                  <a:ext uri="{FF2B5EF4-FFF2-40B4-BE49-F238E27FC236}">
                    <a16:creationId xmlns:a16="http://schemas.microsoft.com/office/drawing/2014/main" id="{5878319F-DC66-4855-905E-051F62583EF9}"/>
                  </a:ext>
                </a:extLst>
              </p:cNvPr>
              <p:cNvSpPr>
                <a:spLocks noChangeShapeType="1"/>
              </p:cNvSpPr>
              <p:nvPr/>
            </p:nvSpPr>
            <p:spPr bwMode="auto">
              <a:xfrm>
                <a:off x="3912" y="2193"/>
                <a:ext cx="21"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a:p>
            </p:txBody>
          </p:sp>
        </p:grpSp>
      </p:grpSp>
      <p:grpSp>
        <p:nvGrpSpPr>
          <p:cNvPr id="86" name="Group 85">
            <a:extLst>
              <a:ext uri="{FF2B5EF4-FFF2-40B4-BE49-F238E27FC236}">
                <a16:creationId xmlns:a16="http://schemas.microsoft.com/office/drawing/2014/main" id="{3D46204E-F49A-49DE-A438-E0C43A20EA71}"/>
              </a:ext>
            </a:extLst>
          </p:cNvPr>
          <p:cNvGrpSpPr>
            <a:grpSpLocks/>
          </p:cNvGrpSpPr>
          <p:nvPr/>
        </p:nvGrpSpPr>
        <p:grpSpPr>
          <a:xfrm>
            <a:off x="3234799" y="1247775"/>
            <a:ext cx="377828" cy="377826"/>
            <a:chOff x="6869539" y="1247775"/>
            <a:chExt cx="377828" cy="377826"/>
          </a:xfrm>
        </p:grpSpPr>
        <p:sp>
          <p:nvSpPr>
            <p:cNvPr id="65" name="Oval 64">
              <a:extLst>
                <a:ext uri="{FF2B5EF4-FFF2-40B4-BE49-F238E27FC236}">
                  <a16:creationId xmlns:a16="http://schemas.microsoft.com/office/drawing/2014/main" id="{83FC58E2-4EE1-4497-93F5-F848CD51831F}"/>
                </a:ext>
              </a:extLst>
            </p:cNvPr>
            <p:cNvSpPr/>
            <p:nvPr/>
          </p:nvSpPr>
          <p:spPr bwMode="auto">
            <a:xfrm>
              <a:off x="6869539" y="1247775"/>
              <a:ext cx="377828" cy="37782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5" name="question" title="Icon of a question mark">
              <a:extLst>
                <a:ext uri="{FF2B5EF4-FFF2-40B4-BE49-F238E27FC236}">
                  <a16:creationId xmlns:a16="http://schemas.microsoft.com/office/drawing/2014/main" id="{FB3C674D-FEB1-4C8A-B358-65D46A057276}"/>
                </a:ext>
              </a:extLst>
            </p:cNvPr>
            <p:cNvSpPr>
              <a:spLocks noChangeAspect="1" noEditPoints="1"/>
            </p:cNvSpPr>
            <p:nvPr/>
          </p:nvSpPr>
          <p:spPr bwMode="auto">
            <a:xfrm>
              <a:off x="6989645" y="1307477"/>
              <a:ext cx="137616" cy="258422"/>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nvGrpSpPr>
          <p:cNvPr id="2" name="Group 1">
            <a:extLst>
              <a:ext uri="{FF2B5EF4-FFF2-40B4-BE49-F238E27FC236}">
                <a16:creationId xmlns:a16="http://schemas.microsoft.com/office/drawing/2014/main" id="{283007EB-42BC-424E-A6C2-4ADCBA7D7921}"/>
              </a:ext>
            </a:extLst>
          </p:cNvPr>
          <p:cNvGrpSpPr/>
          <p:nvPr/>
        </p:nvGrpSpPr>
        <p:grpSpPr>
          <a:xfrm>
            <a:off x="11178867" y="1247775"/>
            <a:ext cx="552450" cy="479425"/>
            <a:chOff x="6777990" y="1247775"/>
            <a:chExt cx="552450" cy="479425"/>
          </a:xfrm>
        </p:grpSpPr>
        <p:cxnSp>
          <p:nvCxnSpPr>
            <p:cNvPr id="64" name="Straight Connector 63">
              <a:extLst>
                <a:ext uri="{FF2B5EF4-FFF2-40B4-BE49-F238E27FC236}">
                  <a16:creationId xmlns:a16="http://schemas.microsoft.com/office/drawing/2014/main" id="{F04729A3-5C4D-4503-AF10-75BA634EF8FC}"/>
                </a:ext>
              </a:extLst>
            </p:cNvPr>
            <p:cNvCxnSpPr>
              <a:cxnSpLocks/>
            </p:cNvCxnSpPr>
            <p:nvPr/>
          </p:nvCxnSpPr>
          <p:spPr>
            <a:xfrm>
              <a:off x="6777990" y="1727200"/>
              <a:ext cx="552450"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A4165F8-A016-40D6-B83D-170A2F31CDAB}"/>
                </a:ext>
              </a:extLst>
            </p:cNvPr>
            <p:cNvGrpSpPr>
              <a:grpSpLocks/>
            </p:cNvGrpSpPr>
            <p:nvPr/>
          </p:nvGrpSpPr>
          <p:grpSpPr>
            <a:xfrm>
              <a:off x="6869539" y="1247775"/>
              <a:ext cx="377828" cy="377826"/>
              <a:chOff x="3234799" y="1247775"/>
              <a:chExt cx="377828" cy="377826"/>
            </a:xfrm>
          </p:grpSpPr>
          <p:sp>
            <p:nvSpPr>
              <p:cNvPr id="52" name="Oval 51">
                <a:extLst>
                  <a:ext uri="{FF2B5EF4-FFF2-40B4-BE49-F238E27FC236}">
                    <a16:creationId xmlns:a16="http://schemas.microsoft.com/office/drawing/2014/main" id="{833393A9-B92C-4D0A-B6C0-3A8F7326303D}"/>
                  </a:ext>
                </a:extLst>
              </p:cNvPr>
              <p:cNvSpPr/>
              <p:nvPr/>
            </p:nvSpPr>
            <p:spPr bwMode="auto">
              <a:xfrm>
                <a:off x="3234799" y="1247775"/>
                <a:ext cx="377828" cy="37782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80" name="Group 79">
                <a:extLst>
                  <a:ext uri="{FF2B5EF4-FFF2-40B4-BE49-F238E27FC236}">
                    <a16:creationId xmlns:a16="http://schemas.microsoft.com/office/drawing/2014/main" id="{82DD58C1-982F-406E-9617-D47CC0F1A175}"/>
                  </a:ext>
                </a:extLst>
              </p:cNvPr>
              <p:cNvGrpSpPr/>
              <p:nvPr/>
            </p:nvGrpSpPr>
            <p:grpSpPr>
              <a:xfrm>
                <a:off x="3330010" y="1322163"/>
                <a:ext cx="187406" cy="229050"/>
                <a:chOff x="7188986" y="3342752"/>
                <a:chExt cx="257175" cy="314325"/>
              </a:xfrm>
            </p:grpSpPr>
            <p:sp>
              <p:nvSpPr>
                <p:cNvPr id="81" name="Freeform: Shape 80">
                  <a:extLst>
                    <a:ext uri="{FF2B5EF4-FFF2-40B4-BE49-F238E27FC236}">
                      <a16:creationId xmlns:a16="http://schemas.microsoft.com/office/drawing/2014/main" id="{D3868AB9-AE04-4540-AB58-1E85BA478089}"/>
                    </a:ext>
                  </a:extLst>
                </p:cNvPr>
                <p:cNvSpPr/>
                <p:nvPr/>
              </p:nvSpPr>
              <p:spPr>
                <a:xfrm>
                  <a:off x="7188986" y="3342752"/>
                  <a:ext cx="257175" cy="314325"/>
                </a:xfrm>
                <a:custGeom>
                  <a:avLst/>
                  <a:gdLst>
                    <a:gd name="connsiteX0" fmla="*/ 255118 w 257175"/>
                    <a:gd name="connsiteY0" fmla="*/ 171654 h 314325"/>
                    <a:gd name="connsiteX1" fmla="*/ 229400 w 257175"/>
                    <a:gd name="connsiteY1" fmla="*/ 126887 h 314325"/>
                    <a:gd name="connsiteX2" fmla="*/ 229400 w 257175"/>
                    <a:gd name="connsiteY2" fmla="*/ 124982 h 314325"/>
                    <a:gd name="connsiteX3" fmla="*/ 175108 w 257175"/>
                    <a:gd name="connsiteY3" fmla="*/ 23064 h 314325"/>
                    <a:gd name="connsiteX4" fmla="*/ 61760 w 257175"/>
                    <a:gd name="connsiteY4" fmla="*/ 23064 h 314325"/>
                    <a:gd name="connsiteX5" fmla="*/ 7468 w 257175"/>
                    <a:gd name="connsiteY5" fmla="*/ 124982 h 314325"/>
                    <a:gd name="connsiteX6" fmla="*/ 51283 w 257175"/>
                    <a:gd name="connsiteY6" fmla="*/ 215469 h 314325"/>
                    <a:gd name="connsiteX7" fmla="*/ 51283 w 257175"/>
                    <a:gd name="connsiteY7" fmla="*/ 309767 h 314325"/>
                    <a:gd name="connsiteX8" fmla="*/ 167488 w 257175"/>
                    <a:gd name="connsiteY8" fmla="*/ 309767 h 314325"/>
                    <a:gd name="connsiteX9" fmla="*/ 167488 w 257175"/>
                    <a:gd name="connsiteY9" fmla="*/ 264999 h 314325"/>
                    <a:gd name="connsiteX10" fmla="*/ 185585 w 257175"/>
                    <a:gd name="connsiteY10" fmla="*/ 264999 h 314325"/>
                    <a:gd name="connsiteX11" fmla="*/ 217018 w 257175"/>
                    <a:gd name="connsiteY11" fmla="*/ 251664 h 314325"/>
                    <a:gd name="connsiteX12" fmla="*/ 229400 w 257175"/>
                    <a:gd name="connsiteY12" fmla="*/ 220232 h 314325"/>
                    <a:gd name="connsiteX13" fmla="*/ 229400 w 257175"/>
                    <a:gd name="connsiteY13" fmla="*/ 197372 h 314325"/>
                    <a:gd name="connsiteX14" fmla="*/ 245593 w 257175"/>
                    <a:gd name="connsiteY14" fmla="*/ 197372 h 314325"/>
                    <a:gd name="connsiteX15" fmla="*/ 255118 w 257175"/>
                    <a:gd name="connsiteY15" fmla="*/ 171654 h 314325"/>
                    <a:gd name="connsiteX16" fmla="*/ 255118 w 257175"/>
                    <a:gd name="connsiteY16" fmla="*/ 17165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75" h="314325">
                      <a:moveTo>
                        <a:pt x="255118" y="171654"/>
                      </a:moveTo>
                      <a:lnTo>
                        <a:pt x="229400" y="126887"/>
                      </a:lnTo>
                      <a:lnTo>
                        <a:pt x="229400" y="124982"/>
                      </a:lnTo>
                      <a:cubicBezTo>
                        <a:pt x="231305" y="83072"/>
                        <a:pt x="210350" y="44019"/>
                        <a:pt x="175108" y="23064"/>
                      </a:cubicBezTo>
                      <a:cubicBezTo>
                        <a:pt x="139865" y="2109"/>
                        <a:pt x="97002" y="2109"/>
                        <a:pt x="61760" y="23064"/>
                      </a:cubicBezTo>
                      <a:cubicBezTo>
                        <a:pt x="26518" y="44019"/>
                        <a:pt x="5563" y="83072"/>
                        <a:pt x="7468" y="124982"/>
                      </a:cubicBezTo>
                      <a:cubicBezTo>
                        <a:pt x="7468" y="160224"/>
                        <a:pt x="23660" y="194514"/>
                        <a:pt x="51283" y="215469"/>
                      </a:cubicBezTo>
                      <a:lnTo>
                        <a:pt x="51283" y="309767"/>
                      </a:lnTo>
                      <a:lnTo>
                        <a:pt x="167488" y="309767"/>
                      </a:lnTo>
                      <a:lnTo>
                        <a:pt x="167488" y="264999"/>
                      </a:lnTo>
                      <a:lnTo>
                        <a:pt x="185585" y="264999"/>
                      </a:lnTo>
                      <a:cubicBezTo>
                        <a:pt x="197015" y="264999"/>
                        <a:pt x="208445" y="260237"/>
                        <a:pt x="217018" y="251664"/>
                      </a:cubicBezTo>
                      <a:cubicBezTo>
                        <a:pt x="225590" y="243092"/>
                        <a:pt x="229400" y="231662"/>
                        <a:pt x="229400" y="220232"/>
                      </a:cubicBezTo>
                      <a:lnTo>
                        <a:pt x="229400" y="197372"/>
                      </a:lnTo>
                      <a:lnTo>
                        <a:pt x="245593" y="197372"/>
                      </a:lnTo>
                      <a:cubicBezTo>
                        <a:pt x="255118" y="196419"/>
                        <a:pt x="263690" y="184989"/>
                        <a:pt x="255118" y="171654"/>
                      </a:cubicBezTo>
                      <a:lnTo>
                        <a:pt x="255118" y="171654"/>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82" name="Freeform: Shape 81">
                  <a:extLst>
                    <a:ext uri="{FF2B5EF4-FFF2-40B4-BE49-F238E27FC236}">
                      <a16:creationId xmlns:a16="http://schemas.microsoft.com/office/drawing/2014/main" id="{0CD6190C-13ED-4D8A-BF9C-A8F9D4FF956E}"/>
                    </a:ext>
                  </a:extLst>
                </p:cNvPr>
                <p:cNvSpPr/>
                <p:nvPr/>
              </p:nvSpPr>
              <p:spPr>
                <a:xfrm>
                  <a:off x="7251011" y="3385652"/>
                  <a:ext cx="104775" cy="133350"/>
                </a:xfrm>
                <a:custGeom>
                  <a:avLst/>
                  <a:gdLst>
                    <a:gd name="connsiteX0" fmla="*/ 7355 w 104775"/>
                    <a:gd name="connsiteY0" fmla="*/ 52555 h 133350"/>
                    <a:gd name="connsiteX1" fmla="*/ 57838 w 104775"/>
                    <a:gd name="connsiteY1" fmla="*/ 7787 h 133350"/>
                    <a:gd name="connsiteX2" fmla="*/ 97843 w 104775"/>
                    <a:gd name="connsiteY2" fmla="*/ 47792 h 133350"/>
                    <a:gd name="connsiteX3" fmla="*/ 68315 w 104775"/>
                    <a:gd name="connsiteY3" fmla="*/ 95417 h 133350"/>
                    <a:gd name="connsiteX4" fmla="*/ 53075 w 104775"/>
                    <a:gd name="connsiteY4" fmla="*/ 117325 h 133350"/>
                    <a:gd name="connsiteX5" fmla="*/ 53075 w 104775"/>
                    <a:gd name="connsiteY5" fmla="*/ 13066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33350">
                      <a:moveTo>
                        <a:pt x="7355" y="52555"/>
                      </a:moveTo>
                      <a:cubicBezTo>
                        <a:pt x="7355" y="25885"/>
                        <a:pt x="30215" y="3977"/>
                        <a:pt x="57838" y="7787"/>
                      </a:cubicBezTo>
                      <a:cubicBezTo>
                        <a:pt x="78793" y="9692"/>
                        <a:pt x="95938" y="26837"/>
                        <a:pt x="97843" y="47792"/>
                      </a:cubicBezTo>
                      <a:cubicBezTo>
                        <a:pt x="100700" y="69700"/>
                        <a:pt x="87365" y="88750"/>
                        <a:pt x="68315" y="95417"/>
                      </a:cubicBezTo>
                      <a:cubicBezTo>
                        <a:pt x="58790" y="99227"/>
                        <a:pt x="53075" y="107800"/>
                        <a:pt x="53075" y="117325"/>
                      </a:cubicBezTo>
                      <a:lnTo>
                        <a:pt x="53075" y="13066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83" name="Freeform: Shape 82">
                  <a:extLst>
                    <a:ext uri="{FF2B5EF4-FFF2-40B4-BE49-F238E27FC236}">
                      <a16:creationId xmlns:a16="http://schemas.microsoft.com/office/drawing/2014/main" id="{DB0027EB-7F6D-459B-BE90-F5C6064F752F}"/>
                    </a:ext>
                  </a:extLst>
                </p:cNvPr>
                <p:cNvSpPr/>
                <p:nvPr/>
              </p:nvSpPr>
              <p:spPr>
                <a:xfrm>
                  <a:off x="7287206" y="3535626"/>
                  <a:ext cx="28575" cy="28575"/>
                </a:xfrm>
                <a:custGeom>
                  <a:avLst/>
                  <a:gdLst>
                    <a:gd name="connsiteX0" fmla="*/ 26405 w 28575"/>
                    <a:gd name="connsiteY0" fmla="*/ 16880 h 28575"/>
                    <a:gd name="connsiteX1" fmla="*/ 16880 w 28575"/>
                    <a:gd name="connsiteY1" fmla="*/ 26405 h 28575"/>
                    <a:gd name="connsiteX2" fmla="*/ 7355 w 28575"/>
                    <a:gd name="connsiteY2" fmla="*/ 16880 h 28575"/>
                    <a:gd name="connsiteX3" fmla="*/ 16880 w 28575"/>
                    <a:gd name="connsiteY3" fmla="*/ 7355 h 28575"/>
                    <a:gd name="connsiteX4" fmla="*/ 26405 w 28575"/>
                    <a:gd name="connsiteY4" fmla="*/ 1688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405" y="16880"/>
                      </a:moveTo>
                      <a:cubicBezTo>
                        <a:pt x="26405" y="22141"/>
                        <a:pt x="22141" y="26405"/>
                        <a:pt x="16880" y="26405"/>
                      </a:cubicBezTo>
                      <a:cubicBezTo>
                        <a:pt x="11619" y="26405"/>
                        <a:pt x="7355" y="22141"/>
                        <a:pt x="7355" y="16880"/>
                      </a:cubicBezTo>
                      <a:cubicBezTo>
                        <a:pt x="7355" y="11620"/>
                        <a:pt x="11619" y="7355"/>
                        <a:pt x="16880" y="7355"/>
                      </a:cubicBezTo>
                      <a:cubicBezTo>
                        <a:pt x="22141" y="7355"/>
                        <a:pt x="26405" y="11620"/>
                        <a:pt x="26405" y="16880"/>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spTree>
    <p:extLst>
      <p:ext uri="{BB962C8B-B14F-4D97-AF65-F5344CB8AC3E}">
        <p14:creationId xmlns:p14="http://schemas.microsoft.com/office/powerpoint/2010/main" val="114928090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A1EE3B-B758-4844-A243-F5E75EAC4E8D}"/>
              </a:ext>
              <a:ext uri="{C183D7F6-B498-43B3-948B-1728B52AA6E4}">
                <adec:decorative xmlns:adec="http://schemas.microsoft.com/office/drawing/2017/decorative" val="1"/>
              </a:ext>
            </a:extLst>
          </p:cNvPr>
          <p:cNvSpPr/>
          <p:nvPr/>
        </p:nvSpPr>
        <p:spPr bwMode="white">
          <a:xfrm>
            <a:off x="1" y="-2"/>
            <a:ext cx="12192000" cy="68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82AD2E4A-3C57-40F7-8A60-0AD6B9EA998C}"/>
              </a:ext>
            </a:extLst>
          </p:cNvPr>
          <p:cNvGrpSpPr/>
          <p:nvPr/>
        </p:nvGrpSpPr>
        <p:grpSpPr>
          <a:xfrm>
            <a:off x="6882384" y="-1"/>
            <a:ext cx="5309616" cy="6858001"/>
            <a:chOff x="6882384" y="-1"/>
            <a:chExt cx="5309616" cy="6858001"/>
          </a:xfrm>
        </p:grpSpPr>
        <p:pic>
          <p:nvPicPr>
            <p:cNvPr id="14" name="Graphic 13" descr="Viva graphic">
              <a:extLst>
                <a:ext uri="{FF2B5EF4-FFF2-40B4-BE49-F238E27FC236}">
                  <a16:creationId xmlns:a16="http://schemas.microsoft.com/office/drawing/2014/main" id="{D81B13CB-DD7D-4199-90F6-BCBE4679B7C9}"/>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 t="37067" r="63457" b="24387"/>
            <a:stretch/>
          </p:blipFill>
          <p:spPr bwMode="ltGray">
            <a:xfrm>
              <a:off x="6882384" y="1257299"/>
              <a:ext cx="5309616" cy="5600701"/>
            </a:xfrm>
            <a:prstGeom prst="rect">
              <a:avLst/>
            </a:prstGeom>
          </p:spPr>
        </p:pic>
        <p:pic>
          <p:nvPicPr>
            <p:cNvPr id="15" name="Graphic 14" descr="Viva graphic">
              <a:extLst>
                <a:ext uri="{FF2B5EF4-FFF2-40B4-BE49-F238E27FC236}">
                  <a16:creationId xmlns:a16="http://schemas.microsoft.com/office/drawing/2014/main" id="{53AE230C-92AC-4825-B8EB-8F8B34B8B8E8}"/>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19363" r="63456" b="59769"/>
            <a:stretch/>
          </p:blipFill>
          <p:spPr bwMode="ltGray">
            <a:xfrm>
              <a:off x="6882384" y="-1"/>
              <a:ext cx="5309616" cy="3032125"/>
            </a:xfrm>
            <a:prstGeom prst="rect">
              <a:avLst/>
            </a:prstGeom>
          </p:spPr>
        </p:pic>
      </p:grpSp>
      <p:sp>
        <p:nvSpPr>
          <p:cNvPr id="2" name="Title 1"/>
          <p:cNvSpPr>
            <a:spLocks noGrp="1"/>
          </p:cNvSpPr>
          <p:nvPr>
            <p:ph type="title" idx="4294967295"/>
          </p:nvPr>
        </p:nvSpPr>
        <p:spPr>
          <a:xfrm>
            <a:off x="1458913" y="3059113"/>
            <a:ext cx="10733087" cy="739775"/>
          </a:xfrm>
        </p:spPr>
        <p:txBody>
          <a:bodyPr anchor="ctr"/>
          <a:lstStyle/>
          <a:p>
            <a:r>
              <a:rPr lang="en-US" sz="4800" noProof="0"/>
              <a:t>Plan</a:t>
            </a:r>
            <a:endParaRPr lang="en-US" sz="4000">
              <a:latin typeface="+mn-lt"/>
            </a:endParaRPr>
          </a:p>
        </p:txBody>
      </p:sp>
      <p:sp>
        <p:nvSpPr>
          <p:cNvPr id="8" name="Rectangle 7">
            <a:extLst>
              <a:ext uri="{FF2B5EF4-FFF2-40B4-BE49-F238E27FC236}">
                <a16:creationId xmlns:a16="http://schemas.microsoft.com/office/drawing/2014/main" id="{22EE6D4C-1615-4778-B448-82763396DC53}"/>
              </a:ext>
              <a:ext uri="{C183D7F6-B498-43B3-948B-1728B52AA6E4}">
                <adec:decorative xmlns:adec="http://schemas.microsoft.com/office/drawing/2017/decorative" val="1"/>
              </a:ext>
            </a:extLst>
          </p:cNvPr>
          <p:cNvSpPr/>
          <p:nvPr/>
        </p:nvSpPr>
        <p:spPr bwMode="white">
          <a:xfrm>
            <a:off x="1" y="0"/>
            <a:ext cx="609600" cy="686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0385472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0" name="Picture 159" descr="A person sitting at a table with a computer and other people in the background&#10;&#10;Description automatically generated with low confidence">
            <a:extLst>
              <a:ext uri="{FF2B5EF4-FFF2-40B4-BE49-F238E27FC236}">
                <a16:creationId xmlns:a16="http://schemas.microsoft.com/office/drawing/2014/main" id="{2650E915-9077-4836-82FC-B9FC0570DBB9}"/>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7636630" y="0"/>
            <a:ext cx="2985629" cy="1462394"/>
          </a:xfrm>
          <a:custGeom>
            <a:avLst/>
            <a:gdLst>
              <a:gd name="connsiteX0" fmla="*/ 0 w 2985629"/>
              <a:gd name="connsiteY0" fmla="*/ 0 h 1462394"/>
              <a:gd name="connsiteX1" fmla="*/ 2985629 w 2985629"/>
              <a:gd name="connsiteY1" fmla="*/ 0 h 1462394"/>
              <a:gd name="connsiteX2" fmla="*/ 2983486 w 2985629"/>
              <a:gd name="connsiteY2" fmla="*/ 9275 h 1462394"/>
              <a:gd name="connsiteX3" fmla="*/ 2963568 w 2985629"/>
              <a:gd name="connsiteY3" fmla="*/ 37111 h 1462394"/>
              <a:gd name="connsiteX4" fmla="*/ 1459971 w 2985629"/>
              <a:gd name="connsiteY4" fmla="*/ 1439238 h 1462394"/>
              <a:gd name="connsiteX5" fmla="*/ 1338143 w 2985629"/>
              <a:gd name="connsiteY5" fmla="*/ 1434983 h 146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5629" h="1462394">
                <a:moveTo>
                  <a:pt x="0" y="0"/>
                </a:moveTo>
                <a:lnTo>
                  <a:pt x="2985629" y="0"/>
                </a:lnTo>
                <a:lnTo>
                  <a:pt x="2983486" y="9275"/>
                </a:lnTo>
                <a:cubicBezTo>
                  <a:pt x="2978919" y="19498"/>
                  <a:pt x="2972272" y="28994"/>
                  <a:pt x="2963568" y="37111"/>
                </a:cubicBezTo>
                <a:lnTo>
                  <a:pt x="1459971" y="1439238"/>
                </a:lnTo>
                <a:cubicBezTo>
                  <a:pt x="1425154" y="1471705"/>
                  <a:pt x="1370610" y="1469800"/>
                  <a:pt x="1338143" y="1434983"/>
                </a:cubicBezTo>
                <a:close/>
              </a:path>
            </a:pathLst>
          </a:custGeom>
        </p:spPr>
      </p:pic>
      <p:pic>
        <p:nvPicPr>
          <p:cNvPr id="158" name="Picture 157" descr="A person sitting at a table with a computer and other people in the background&#10;&#10;Description automatically generated with low confidence">
            <a:extLst>
              <a:ext uri="{FF2B5EF4-FFF2-40B4-BE49-F238E27FC236}">
                <a16:creationId xmlns:a16="http://schemas.microsoft.com/office/drawing/2014/main" id="{1A8A51F9-55B1-4E45-B395-66C026ABE025}"/>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7104049" y="0"/>
            <a:ext cx="5087951" cy="6858000"/>
          </a:xfrm>
          <a:custGeom>
            <a:avLst/>
            <a:gdLst>
              <a:gd name="connsiteX0" fmla="*/ 3772823 w 5087951"/>
              <a:gd name="connsiteY0" fmla="*/ 0 h 6858000"/>
              <a:gd name="connsiteX1" fmla="*/ 5087951 w 5087951"/>
              <a:gd name="connsiteY1" fmla="*/ 0 h 6858000"/>
              <a:gd name="connsiteX2" fmla="*/ 5087951 w 5087951"/>
              <a:gd name="connsiteY2" fmla="*/ 6858000 h 6858000"/>
              <a:gd name="connsiteX3" fmla="*/ 2909038 w 5087951"/>
              <a:gd name="connsiteY3" fmla="*/ 6858000 h 6858000"/>
              <a:gd name="connsiteX4" fmla="*/ 71392 w 5087951"/>
              <a:gd name="connsiteY4" fmla="*/ 3814997 h 6858000"/>
              <a:gd name="connsiteX5" fmla="*/ 84508 w 5087951"/>
              <a:gd name="connsiteY5" fmla="*/ 34394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7951" h="6858000">
                <a:moveTo>
                  <a:pt x="3772823" y="0"/>
                </a:moveTo>
                <a:lnTo>
                  <a:pt x="5087951" y="0"/>
                </a:lnTo>
                <a:lnTo>
                  <a:pt x="5087951" y="6858000"/>
                </a:lnTo>
                <a:lnTo>
                  <a:pt x="2909038" y="6858000"/>
                </a:lnTo>
                <a:lnTo>
                  <a:pt x="71392" y="3814997"/>
                </a:lnTo>
                <a:cubicBezTo>
                  <a:pt x="-28702" y="3707660"/>
                  <a:pt x="-22830" y="3539503"/>
                  <a:pt x="84508" y="3439410"/>
                </a:cubicBezTo>
                <a:close/>
              </a:path>
            </a:pathLst>
          </a:custGeom>
        </p:spPr>
      </p:pic>
      <p:sp>
        <p:nvSpPr>
          <p:cNvPr id="101" name="Rectangle 100">
            <a:extLst>
              <a:ext uri="{FF2B5EF4-FFF2-40B4-BE49-F238E27FC236}">
                <a16:creationId xmlns:a16="http://schemas.microsoft.com/office/drawing/2014/main" id="{E645F860-BA2F-4864-990B-54223D196D48}"/>
              </a:ext>
            </a:extLst>
          </p:cNvPr>
          <p:cNvSpPr/>
          <p:nvPr/>
        </p:nvSpPr>
        <p:spPr bwMode="auto">
          <a:xfrm>
            <a:off x="0" y="1498024"/>
            <a:ext cx="800099" cy="45508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itle 3">
            <a:extLst>
              <a:ext uri="{FF2B5EF4-FFF2-40B4-BE49-F238E27FC236}">
                <a16:creationId xmlns:a16="http://schemas.microsoft.com/office/drawing/2014/main" id="{3600DED2-9D95-4BC4-86B0-02513036FF3C}"/>
              </a:ext>
            </a:extLst>
          </p:cNvPr>
          <p:cNvSpPr>
            <a:spLocks noGrp="1"/>
          </p:cNvSpPr>
          <p:nvPr>
            <p:ph type="title"/>
          </p:nvPr>
        </p:nvSpPr>
        <p:spPr>
          <a:xfrm>
            <a:off x="588263" y="457200"/>
            <a:ext cx="11018520" cy="553998"/>
          </a:xfrm>
        </p:spPr>
        <p:txBody>
          <a:bodyPr/>
          <a:lstStyle/>
          <a:p>
            <a:r>
              <a:rPr lang="en-US"/>
              <a:t>Define success criteria</a:t>
            </a:r>
          </a:p>
        </p:txBody>
      </p:sp>
      <p:sp>
        <p:nvSpPr>
          <p:cNvPr id="80" name="Arrow: Bent 79">
            <a:extLst>
              <a:ext uri="{FF2B5EF4-FFF2-40B4-BE49-F238E27FC236}">
                <a16:creationId xmlns:a16="http://schemas.microsoft.com/office/drawing/2014/main" id="{733240CC-3269-41C5-A2F3-8928F1DBD81E}"/>
              </a:ext>
            </a:extLst>
          </p:cNvPr>
          <p:cNvSpPr/>
          <p:nvPr/>
        </p:nvSpPr>
        <p:spPr bwMode="auto">
          <a:xfrm rot="10800000" flipH="1">
            <a:off x="800100" y="4991099"/>
            <a:ext cx="6778156" cy="127849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9" name="Arrow: Bent 78">
            <a:extLst>
              <a:ext uri="{FF2B5EF4-FFF2-40B4-BE49-F238E27FC236}">
                <a16:creationId xmlns:a16="http://schemas.microsoft.com/office/drawing/2014/main" id="{17D27186-BC38-4ECA-BEF6-CFFBE7B3CCAC}"/>
              </a:ext>
            </a:extLst>
          </p:cNvPr>
          <p:cNvSpPr/>
          <p:nvPr/>
        </p:nvSpPr>
        <p:spPr bwMode="auto">
          <a:xfrm rot="5400000">
            <a:off x="-1628322" y="2905578"/>
            <a:ext cx="4056743" cy="80009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5E7667EA-81CD-4ED8-B3EC-4F16503E3129}"/>
              </a:ext>
            </a:extLst>
          </p:cNvPr>
          <p:cNvCxnSpPr>
            <a:cxnSpLocks/>
          </p:cNvCxnSpPr>
          <p:nvPr/>
        </p:nvCxnSpPr>
        <p:spPr>
          <a:xfrm>
            <a:off x="1352763" y="3076268"/>
            <a:ext cx="5564187"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E2CC25C-50A9-46BF-AD51-EC8835509681}"/>
              </a:ext>
            </a:extLst>
          </p:cNvPr>
          <p:cNvCxnSpPr>
            <a:cxnSpLocks/>
          </p:cNvCxnSpPr>
          <p:nvPr/>
        </p:nvCxnSpPr>
        <p:spPr>
          <a:xfrm>
            <a:off x="1352763" y="4296246"/>
            <a:ext cx="5564187"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5B2084A-B32F-46D0-B51B-ECFC20301947}"/>
              </a:ext>
            </a:extLst>
          </p:cNvPr>
          <p:cNvCxnSpPr>
            <a:cxnSpLocks/>
          </p:cNvCxnSpPr>
          <p:nvPr/>
        </p:nvCxnSpPr>
        <p:spPr>
          <a:xfrm>
            <a:off x="1352763" y="5153025"/>
            <a:ext cx="5564187"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31B606-545E-4753-AC22-36E3DC5C6641}"/>
              </a:ext>
            </a:extLst>
          </p:cNvPr>
          <p:cNvSpPr>
            <a:spLocks/>
          </p:cNvSpPr>
          <p:nvPr/>
        </p:nvSpPr>
        <p:spPr>
          <a:xfrm>
            <a:off x="1352763" y="1658366"/>
            <a:ext cx="6080522" cy="1454244"/>
          </a:xfrm>
          <a:prstGeom prst="rect">
            <a:avLst/>
          </a:prstGeom>
        </p:spPr>
        <p:txBody>
          <a:bodyPr wrap="square" lIns="0" tIns="0" rIns="0" bIns="0">
            <a:spAutoFit/>
          </a:bodyPr>
          <a:lstStyle/>
          <a:p>
            <a:pPr marL="0" lvl="1" defTabSz="896181">
              <a:spcAft>
                <a:spcPts val="300"/>
              </a:spcAft>
              <a:buSzPct val="90000"/>
            </a:pPr>
            <a:r>
              <a:rPr lang="en-US">
                <a:cs typeface="Segoe UI" panose="020B0502040204020203" pitchFamily="34" charset="0"/>
              </a:rPr>
              <a:t>Define goals</a:t>
            </a:r>
          </a:p>
          <a:p>
            <a:pPr marL="390525" lvl="2" indent="-285750" defTabSz="896181">
              <a:spcAft>
                <a:spcPts val="600"/>
              </a:spcAft>
              <a:buSzPct val="90000"/>
              <a:buFont typeface="Verdana" panose="020B0604030504040204" pitchFamily="34" charset="0"/>
              <a:buChar char="-"/>
            </a:pPr>
            <a:r>
              <a:rPr lang="en-US" sz="1600">
                <a:cs typeface="Segoe UI" panose="020B0502040204020203" pitchFamily="34" charset="0"/>
              </a:rPr>
              <a:t>What are you trying to accomplish?</a:t>
            </a:r>
          </a:p>
          <a:p>
            <a:pPr marL="390525" lvl="2" indent="-285750" defTabSz="896181">
              <a:spcAft>
                <a:spcPts val="600"/>
              </a:spcAft>
              <a:buSzPct val="90000"/>
              <a:buFont typeface="Verdana" panose="020B0604030504040204" pitchFamily="34" charset="0"/>
              <a:buChar char="-"/>
            </a:pPr>
            <a:r>
              <a:rPr lang="en-US" sz="1600">
                <a:cs typeface="Segoe UI" panose="020B0502040204020203" pitchFamily="34" charset="0"/>
              </a:rPr>
              <a:t>What does success look like? </a:t>
            </a:r>
          </a:p>
          <a:p>
            <a:pPr marL="390525" lvl="2" indent="-285750" defTabSz="896181">
              <a:spcAft>
                <a:spcPts val="600"/>
              </a:spcAft>
              <a:buSzPct val="90000"/>
              <a:buFont typeface="Verdana" panose="020B0604030504040204" pitchFamily="34" charset="0"/>
              <a:buChar char="-"/>
            </a:pPr>
            <a:r>
              <a:rPr lang="en-US" sz="1600" err="1">
                <a:cs typeface="Segoe UI" panose="020B0502040204020203" pitchFamily="34" charset="0"/>
              </a:rPr>
              <a:t>ie</a:t>
            </a:r>
            <a:r>
              <a:rPr lang="en-US" sz="1600">
                <a:cs typeface="Segoe UI" panose="020B0502040204020203" pitchFamily="34" charset="0"/>
              </a:rPr>
              <a:t>. accelerate onboarding, train sales and service teams, enable upskilling across roles</a:t>
            </a:r>
          </a:p>
        </p:txBody>
      </p:sp>
      <p:grpSp>
        <p:nvGrpSpPr>
          <p:cNvPr id="117" name="Group 116">
            <a:extLst>
              <a:ext uri="{FF2B5EF4-FFF2-40B4-BE49-F238E27FC236}">
                <a16:creationId xmlns:a16="http://schemas.microsoft.com/office/drawing/2014/main" id="{EAC3C9B5-6C91-43EC-B591-2605A8D07EFA}"/>
              </a:ext>
            </a:extLst>
          </p:cNvPr>
          <p:cNvGrpSpPr/>
          <p:nvPr/>
        </p:nvGrpSpPr>
        <p:grpSpPr>
          <a:xfrm>
            <a:off x="610494" y="1658366"/>
            <a:ext cx="377828" cy="377826"/>
            <a:chOff x="610494" y="1658366"/>
            <a:chExt cx="377828" cy="377826"/>
          </a:xfrm>
        </p:grpSpPr>
        <p:sp>
          <p:nvSpPr>
            <p:cNvPr id="86" name="Oval 85">
              <a:extLst>
                <a:ext uri="{FF2B5EF4-FFF2-40B4-BE49-F238E27FC236}">
                  <a16:creationId xmlns:a16="http://schemas.microsoft.com/office/drawing/2014/main" id="{A9AE5B28-F3E7-46EA-85C7-F171B829D3A9}"/>
                </a:ext>
              </a:extLst>
            </p:cNvPr>
            <p:cNvSpPr/>
            <p:nvPr/>
          </p:nvSpPr>
          <p:spPr bwMode="auto">
            <a:xfrm>
              <a:off x="610494" y="1658366"/>
              <a:ext cx="377828" cy="37782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12" name="Graphic 1021">
              <a:extLst>
                <a:ext uri="{FF2B5EF4-FFF2-40B4-BE49-F238E27FC236}">
                  <a16:creationId xmlns:a16="http://schemas.microsoft.com/office/drawing/2014/main" id="{91B5FA39-59ED-456B-8570-0BB524C72DB7}"/>
                </a:ext>
              </a:extLst>
            </p:cNvPr>
            <p:cNvGrpSpPr/>
            <p:nvPr/>
          </p:nvGrpSpPr>
          <p:grpSpPr>
            <a:xfrm>
              <a:off x="680904" y="1727518"/>
              <a:ext cx="236584" cy="239507"/>
              <a:chOff x="5770561" y="3044824"/>
              <a:chExt cx="893826" cy="904875"/>
            </a:xfrm>
          </p:grpSpPr>
          <p:sp>
            <p:nvSpPr>
              <p:cNvPr id="113" name="Freeform: Shape 112">
                <a:extLst>
                  <a:ext uri="{FF2B5EF4-FFF2-40B4-BE49-F238E27FC236}">
                    <a16:creationId xmlns:a16="http://schemas.microsoft.com/office/drawing/2014/main" id="{A848C319-F4FF-4BCD-85D7-18CE586CE455}"/>
                  </a:ext>
                </a:extLst>
              </p:cNvPr>
              <p:cNvSpPr/>
              <p:nvPr/>
            </p:nvSpPr>
            <p:spPr>
              <a:xfrm>
                <a:off x="5838188" y="3044824"/>
                <a:ext cx="182117" cy="182118"/>
              </a:xfrm>
              <a:custGeom>
                <a:avLst/>
                <a:gdLst>
                  <a:gd name="connsiteX0" fmla="*/ 91059 w 182117"/>
                  <a:gd name="connsiteY0" fmla="*/ 182118 h 182118"/>
                  <a:gd name="connsiteX1" fmla="*/ 182118 w 182117"/>
                  <a:gd name="connsiteY1" fmla="*/ 91059 h 182118"/>
                  <a:gd name="connsiteX2" fmla="*/ 91154 w 182117"/>
                  <a:gd name="connsiteY2" fmla="*/ 0 h 182118"/>
                  <a:gd name="connsiteX3" fmla="*/ 91059 w 182117"/>
                  <a:gd name="connsiteY3" fmla="*/ 0 h 182118"/>
                  <a:gd name="connsiteX4" fmla="*/ 0 w 182117"/>
                  <a:gd name="connsiteY4" fmla="*/ 91059 h 182118"/>
                  <a:gd name="connsiteX5" fmla="*/ 91059 w 182117"/>
                  <a:gd name="connsiteY5" fmla="*/ 182118 h 18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117" h="182118">
                    <a:moveTo>
                      <a:pt x="91059" y="182118"/>
                    </a:moveTo>
                    <a:cubicBezTo>
                      <a:pt x="141351" y="182118"/>
                      <a:pt x="182118" y="141351"/>
                      <a:pt x="182118" y="91059"/>
                    </a:cubicBezTo>
                    <a:cubicBezTo>
                      <a:pt x="182118" y="40767"/>
                      <a:pt x="141446" y="95"/>
                      <a:pt x="91154" y="0"/>
                    </a:cubicBezTo>
                    <a:cubicBezTo>
                      <a:pt x="91154" y="0"/>
                      <a:pt x="91059" y="0"/>
                      <a:pt x="91059" y="0"/>
                    </a:cubicBezTo>
                    <a:cubicBezTo>
                      <a:pt x="40767" y="0"/>
                      <a:pt x="0" y="40767"/>
                      <a:pt x="0" y="91059"/>
                    </a:cubicBezTo>
                    <a:cubicBezTo>
                      <a:pt x="0" y="141351"/>
                      <a:pt x="40767" y="182118"/>
                      <a:pt x="91059" y="182118"/>
                    </a:cubicBez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4" name="Freeform: Shape 113">
                <a:extLst>
                  <a:ext uri="{FF2B5EF4-FFF2-40B4-BE49-F238E27FC236}">
                    <a16:creationId xmlns:a16="http://schemas.microsoft.com/office/drawing/2014/main" id="{19E41AE1-7A76-4A4D-93F7-5706FF5CE037}"/>
                  </a:ext>
                </a:extLst>
              </p:cNvPr>
              <p:cNvSpPr/>
              <p:nvPr/>
            </p:nvSpPr>
            <p:spPr>
              <a:xfrm>
                <a:off x="5770561" y="3260660"/>
                <a:ext cx="521375" cy="689038"/>
              </a:xfrm>
              <a:custGeom>
                <a:avLst/>
                <a:gdLst>
                  <a:gd name="connsiteX0" fmla="*/ 516255 w 521375"/>
                  <a:gd name="connsiteY0" fmla="*/ 64198 h 689038"/>
                  <a:gd name="connsiteX1" fmla="*/ 501206 w 521375"/>
                  <a:gd name="connsiteY1" fmla="*/ 117348 h 689038"/>
                  <a:gd name="connsiteX2" fmla="*/ 353663 w 521375"/>
                  <a:gd name="connsiteY2" fmla="*/ 197834 h 689038"/>
                  <a:gd name="connsiteX3" fmla="*/ 304038 w 521375"/>
                  <a:gd name="connsiteY3" fmla="*/ 185738 h 689038"/>
                  <a:gd name="connsiteX4" fmla="*/ 260985 w 521375"/>
                  <a:gd name="connsiteY4" fmla="*/ 129540 h 689038"/>
                  <a:gd name="connsiteX5" fmla="*/ 260985 w 521375"/>
                  <a:gd name="connsiteY5" fmla="*/ 645986 h 689038"/>
                  <a:gd name="connsiteX6" fmla="*/ 217932 w 521375"/>
                  <a:gd name="connsiteY6" fmla="*/ 689039 h 689038"/>
                  <a:gd name="connsiteX7" fmla="*/ 217932 w 521375"/>
                  <a:gd name="connsiteY7" fmla="*/ 689039 h 689038"/>
                  <a:gd name="connsiteX8" fmla="*/ 174879 w 521375"/>
                  <a:gd name="connsiteY8" fmla="*/ 645986 h 689038"/>
                  <a:gd name="connsiteX9" fmla="*/ 174879 w 521375"/>
                  <a:gd name="connsiteY9" fmla="*/ 416719 h 689038"/>
                  <a:gd name="connsiteX10" fmla="*/ 174689 w 521375"/>
                  <a:gd name="connsiteY10" fmla="*/ 414052 h 689038"/>
                  <a:gd name="connsiteX11" fmla="*/ 156401 w 521375"/>
                  <a:gd name="connsiteY11" fmla="*/ 401098 h 689038"/>
                  <a:gd name="connsiteX12" fmla="*/ 143256 w 521375"/>
                  <a:gd name="connsiteY12" fmla="*/ 417576 h 689038"/>
                  <a:gd name="connsiteX13" fmla="*/ 143256 w 521375"/>
                  <a:gd name="connsiteY13" fmla="*/ 645986 h 689038"/>
                  <a:gd name="connsiteX14" fmla="*/ 100203 w 521375"/>
                  <a:gd name="connsiteY14" fmla="*/ 689039 h 689038"/>
                  <a:gd name="connsiteX15" fmla="*/ 99822 w 521375"/>
                  <a:gd name="connsiteY15" fmla="*/ 689039 h 689038"/>
                  <a:gd name="connsiteX16" fmla="*/ 56769 w 521375"/>
                  <a:gd name="connsiteY16" fmla="*/ 645986 h 689038"/>
                  <a:gd name="connsiteX17" fmla="*/ 56769 w 521375"/>
                  <a:gd name="connsiteY17" fmla="*/ 314897 h 689038"/>
                  <a:gd name="connsiteX18" fmla="*/ 0 w 521375"/>
                  <a:gd name="connsiteY18" fmla="*/ 246126 h 689038"/>
                  <a:gd name="connsiteX19" fmla="*/ 0 w 521375"/>
                  <a:gd name="connsiteY19" fmla="*/ 70104 h 689038"/>
                  <a:gd name="connsiteX20" fmla="*/ 70104 w 521375"/>
                  <a:gd name="connsiteY20" fmla="*/ 0 h 689038"/>
                  <a:gd name="connsiteX21" fmla="*/ 247269 w 521375"/>
                  <a:gd name="connsiteY21" fmla="*/ 0 h 689038"/>
                  <a:gd name="connsiteX22" fmla="*/ 278416 w 521375"/>
                  <a:gd name="connsiteY22" fmla="*/ 16669 h 689038"/>
                  <a:gd name="connsiteX23" fmla="*/ 348806 w 521375"/>
                  <a:gd name="connsiteY23" fmla="*/ 110014 h 689038"/>
                  <a:gd name="connsiteX24" fmla="*/ 464725 w 521375"/>
                  <a:gd name="connsiteY24" fmla="*/ 49149 h 689038"/>
                  <a:gd name="connsiteX25" fmla="*/ 516255 w 521375"/>
                  <a:gd name="connsiteY25" fmla="*/ 64198 h 689038"/>
                  <a:gd name="connsiteX26" fmla="*/ 516255 w 521375"/>
                  <a:gd name="connsiteY26" fmla="*/ 64198 h 68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1375" h="689038">
                    <a:moveTo>
                      <a:pt x="516255" y="64198"/>
                    </a:moveTo>
                    <a:cubicBezTo>
                      <a:pt x="527018" y="83058"/>
                      <a:pt x="520256" y="106966"/>
                      <a:pt x="501206" y="117348"/>
                    </a:cubicBezTo>
                    <a:lnTo>
                      <a:pt x="353663" y="197834"/>
                    </a:lnTo>
                    <a:cubicBezTo>
                      <a:pt x="336328" y="206026"/>
                      <a:pt x="315659" y="200977"/>
                      <a:pt x="304038" y="185738"/>
                    </a:cubicBezTo>
                    <a:lnTo>
                      <a:pt x="260985" y="129540"/>
                    </a:lnTo>
                    <a:lnTo>
                      <a:pt x="260985" y="645986"/>
                    </a:lnTo>
                    <a:cubicBezTo>
                      <a:pt x="260985" y="669798"/>
                      <a:pt x="241649" y="689039"/>
                      <a:pt x="217932" y="689039"/>
                    </a:cubicBezTo>
                    <a:lnTo>
                      <a:pt x="217932" y="689039"/>
                    </a:lnTo>
                    <a:cubicBezTo>
                      <a:pt x="194119" y="689039"/>
                      <a:pt x="174879" y="669703"/>
                      <a:pt x="174879" y="645986"/>
                    </a:cubicBezTo>
                    <a:lnTo>
                      <a:pt x="174879" y="416719"/>
                    </a:lnTo>
                    <a:cubicBezTo>
                      <a:pt x="174879" y="415766"/>
                      <a:pt x="174784" y="414909"/>
                      <a:pt x="174689" y="414052"/>
                    </a:cubicBezTo>
                    <a:cubicBezTo>
                      <a:pt x="173260" y="405479"/>
                      <a:pt x="165068" y="399669"/>
                      <a:pt x="156401" y="401098"/>
                    </a:cubicBezTo>
                    <a:cubicBezTo>
                      <a:pt x="148590" y="402622"/>
                      <a:pt x="143066" y="409575"/>
                      <a:pt x="143256" y="417576"/>
                    </a:cubicBezTo>
                    <a:lnTo>
                      <a:pt x="143256" y="645986"/>
                    </a:lnTo>
                    <a:cubicBezTo>
                      <a:pt x="143256" y="669798"/>
                      <a:pt x="123920" y="689039"/>
                      <a:pt x="100203" y="689039"/>
                    </a:cubicBezTo>
                    <a:lnTo>
                      <a:pt x="99822" y="689039"/>
                    </a:lnTo>
                    <a:cubicBezTo>
                      <a:pt x="76009" y="689039"/>
                      <a:pt x="56769" y="669703"/>
                      <a:pt x="56769" y="645986"/>
                    </a:cubicBezTo>
                    <a:lnTo>
                      <a:pt x="56769" y="314897"/>
                    </a:lnTo>
                    <a:cubicBezTo>
                      <a:pt x="23717" y="308420"/>
                      <a:pt x="0" y="279654"/>
                      <a:pt x="0" y="246126"/>
                    </a:cubicBezTo>
                    <a:lnTo>
                      <a:pt x="0" y="70104"/>
                    </a:lnTo>
                    <a:cubicBezTo>
                      <a:pt x="0" y="31432"/>
                      <a:pt x="31433" y="0"/>
                      <a:pt x="70104" y="0"/>
                    </a:cubicBezTo>
                    <a:lnTo>
                      <a:pt x="247269" y="0"/>
                    </a:lnTo>
                    <a:cubicBezTo>
                      <a:pt x="259652" y="381"/>
                      <a:pt x="271177" y="6572"/>
                      <a:pt x="278416" y="16669"/>
                    </a:cubicBezTo>
                    <a:lnTo>
                      <a:pt x="348806" y="110014"/>
                    </a:lnTo>
                    <a:lnTo>
                      <a:pt x="464725" y="49149"/>
                    </a:lnTo>
                    <a:cubicBezTo>
                      <a:pt x="483203" y="39529"/>
                      <a:pt x="505968" y="46101"/>
                      <a:pt x="516255" y="64198"/>
                    </a:cubicBezTo>
                    <a:lnTo>
                      <a:pt x="516255" y="64198"/>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5" name="Freeform: Shape 114">
                <a:extLst>
                  <a:ext uri="{FF2B5EF4-FFF2-40B4-BE49-F238E27FC236}">
                    <a16:creationId xmlns:a16="http://schemas.microsoft.com/office/drawing/2014/main" id="{32D3F8DF-9C3D-4AD1-A4FA-05D1C8786120}"/>
                  </a:ext>
                </a:extLst>
              </p:cNvPr>
              <p:cNvSpPr/>
              <p:nvPr/>
            </p:nvSpPr>
            <p:spPr>
              <a:xfrm>
                <a:off x="6341585" y="3068007"/>
                <a:ext cx="322802" cy="653091"/>
              </a:xfrm>
              <a:custGeom>
                <a:avLst/>
                <a:gdLst>
                  <a:gd name="connsiteX0" fmla="*/ 2953 w 322802"/>
                  <a:gd name="connsiteY0" fmla="*/ 281617 h 653091"/>
                  <a:gd name="connsiteX1" fmla="*/ 160306 w 322802"/>
                  <a:gd name="connsiteY1" fmla="*/ 293237 h 653091"/>
                  <a:gd name="connsiteX2" fmla="*/ 309086 w 322802"/>
                  <a:gd name="connsiteY2" fmla="*/ 311811 h 653091"/>
                  <a:gd name="connsiteX3" fmla="*/ 322802 w 322802"/>
                  <a:gd name="connsiteY3" fmla="*/ 290666 h 653091"/>
                  <a:gd name="connsiteX4" fmla="*/ 322802 w 322802"/>
                  <a:gd name="connsiteY4" fmla="*/ 73686 h 653091"/>
                  <a:gd name="connsiteX5" fmla="*/ 302705 w 322802"/>
                  <a:gd name="connsiteY5" fmla="*/ 53969 h 653091"/>
                  <a:gd name="connsiteX6" fmla="*/ 296513 w 322802"/>
                  <a:gd name="connsiteY6" fmla="*/ 55017 h 653091"/>
                  <a:gd name="connsiteX7" fmla="*/ 162401 w 322802"/>
                  <a:gd name="connsiteY7" fmla="*/ 30919 h 653091"/>
                  <a:gd name="connsiteX8" fmla="*/ 13716 w 322802"/>
                  <a:gd name="connsiteY8" fmla="*/ 12345 h 653091"/>
                  <a:gd name="connsiteX9" fmla="*/ 0 w 322802"/>
                  <a:gd name="connsiteY9" fmla="*/ 33491 h 653091"/>
                  <a:gd name="connsiteX10" fmla="*/ 0 w 322802"/>
                  <a:gd name="connsiteY10" fmla="*/ 653092 h 65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802" h="653091">
                    <a:moveTo>
                      <a:pt x="2953" y="281617"/>
                    </a:moveTo>
                    <a:cubicBezTo>
                      <a:pt x="48768" y="267139"/>
                      <a:pt x="122206" y="263900"/>
                      <a:pt x="160306" y="293237"/>
                    </a:cubicBezTo>
                    <a:cubicBezTo>
                      <a:pt x="202692" y="326289"/>
                      <a:pt x="259842" y="333433"/>
                      <a:pt x="309086" y="311811"/>
                    </a:cubicBezTo>
                    <a:cubicBezTo>
                      <a:pt x="317468" y="308096"/>
                      <a:pt x="322802" y="299810"/>
                      <a:pt x="322802" y="290666"/>
                    </a:cubicBezTo>
                    <a:lnTo>
                      <a:pt x="322802" y="73686"/>
                    </a:lnTo>
                    <a:cubicBezTo>
                      <a:pt x="322707" y="62732"/>
                      <a:pt x="313658" y="53874"/>
                      <a:pt x="302705" y="53969"/>
                    </a:cubicBezTo>
                    <a:cubicBezTo>
                      <a:pt x="300609" y="53969"/>
                      <a:pt x="298514" y="54350"/>
                      <a:pt x="296513" y="55017"/>
                    </a:cubicBezTo>
                    <a:cubicBezTo>
                      <a:pt x="250603" y="69495"/>
                      <a:pt x="200406" y="60446"/>
                      <a:pt x="162401" y="30919"/>
                    </a:cubicBezTo>
                    <a:cubicBezTo>
                      <a:pt x="120015" y="-2133"/>
                      <a:pt x="62960" y="-9277"/>
                      <a:pt x="13716" y="12345"/>
                    </a:cubicBezTo>
                    <a:cubicBezTo>
                      <a:pt x="5334" y="16060"/>
                      <a:pt x="0" y="24347"/>
                      <a:pt x="0" y="33491"/>
                    </a:cubicBezTo>
                    <a:lnTo>
                      <a:pt x="0" y="653092"/>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16" name="Freeform: Shape 115">
                <a:extLst>
                  <a:ext uri="{FF2B5EF4-FFF2-40B4-BE49-F238E27FC236}">
                    <a16:creationId xmlns:a16="http://schemas.microsoft.com/office/drawing/2014/main" id="{7114C5B6-2E0A-4B87-96F3-0F364805CCB2}"/>
                  </a:ext>
                </a:extLst>
              </p:cNvPr>
              <p:cNvSpPr/>
              <p:nvPr/>
            </p:nvSpPr>
            <p:spPr>
              <a:xfrm>
                <a:off x="6227189" y="3721099"/>
                <a:ext cx="228600" cy="228600"/>
              </a:xfrm>
              <a:custGeom>
                <a:avLst/>
                <a:gdLst>
                  <a:gd name="connsiteX0" fmla="*/ 228600 w 228600"/>
                  <a:gd name="connsiteY0" fmla="*/ 228600 h 228600"/>
                  <a:gd name="connsiteX1" fmla="*/ 0 w 228600"/>
                  <a:gd name="connsiteY1" fmla="*/ 228600 h 228600"/>
                  <a:gd name="connsiteX2" fmla="*/ 38100 w 228600"/>
                  <a:gd name="connsiteY2" fmla="*/ 0 h 228600"/>
                  <a:gd name="connsiteX3" fmla="*/ 190500 w 228600"/>
                  <a:gd name="connsiteY3" fmla="*/ 0 h 228600"/>
                </a:gdLst>
                <a:ahLst/>
                <a:cxnLst>
                  <a:cxn ang="0">
                    <a:pos x="connsiteX0" y="connsiteY0"/>
                  </a:cxn>
                  <a:cxn ang="0">
                    <a:pos x="connsiteX1" y="connsiteY1"/>
                  </a:cxn>
                  <a:cxn ang="0">
                    <a:pos x="connsiteX2" y="connsiteY2"/>
                  </a:cxn>
                  <a:cxn ang="0">
                    <a:pos x="connsiteX3" y="connsiteY3"/>
                  </a:cxn>
                </a:cxnLst>
                <a:rect l="l" t="t" r="r" b="b"/>
                <a:pathLst>
                  <a:path w="228600" h="228600">
                    <a:moveTo>
                      <a:pt x="228600" y="228600"/>
                    </a:moveTo>
                    <a:lnTo>
                      <a:pt x="0" y="228600"/>
                    </a:lnTo>
                    <a:lnTo>
                      <a:pt x="38100" y="0"/>
                    </a:lnTo>
                    <a:lnTo>
                      <a:pt x="190500" y="0"/>
                    </a:lnTo>
                    <a:close/>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grpSp>
      <p:sp>
        <p:nvSpPr>
          <p:cNvPr id="82" name="Rectangle 81">
            <a:extLst>
              <a:ext uri="{FF2B5EF4-FFF2-40B4-BE49-F238E27FC236}">
                <a16:creationId xmlns:a16="http://schemas.microsoft.com/office/drawing/2014/main" id="{CD38DF37-963C-486E-A1E0-79A51CC94312}"/>
              </a:ext>
            </a:extLst>
          </p:cNvPr>
          <p:cNvSpPr>
            <a:spLocks/>
          </p:cNvSpPr>
          <p:nvPr/>
        </p:nvSpPr>
        <p:spPr>
          <a:xfrm>
            <a:off x="1352763" y="3316925"/>
            <a:ext cx="5486188" cy="846386"/>
          </a:xfrm>
          <a:prstGeom prst="rect">
            <a:avLst/>
          </a:prstGeom>
        </p:spPr>
        <p:txBody>
          <a:bodyPr wrap="square" lIns="0" tIns="0" rIns="0" bIns="0">
            <a:spAutoFit/>
          </a:bodyPr>
          <a:lstStyle/>
          <a:p>
            <a:pPr marL="0" lvl="1" defTabSz="896181">
              <a:spcBef>
                <a:spcPts val="600"/>
              </a:spcBef>
              <a:spcAft>
                <a:spcPts val="300"/>
              </a:spcAft>
              <a:buSzPct val="90000"/>
            </a:pPr>
            <a:r>
              <a:rPr lang="en-US">
                <a:cs typeface="Segoe UI" panose="020B0502040204020203" pitchFamily="34" charset="0"/>
              </a:rPr>
              <a:t>Identify key performance indicator (KPIs)</a:t>
            </a:r>
            <a:r>
              <a:rPr lang="en-US" sz="1600">
                <a:cs typeface="Segoe UI" panose="020B0502040204020203" pitchFamily="34" charset="0"/>
              </a:rPr>
              <a:t> </a:t>
            </a:r>
          </a:p>
          <a:p>
            <a:pPr marL="0" lvl="1" defTabSz="896181">
              <a:spcBef>
                <a:spcPts val="300"/>
              </a:spcBef>
              <a:spcAft>
                <a:spcPts val="600"/>
              </a:spcAft>
              <a:buSzPct val="90000"/>
            </a:pPr>
            <a:r>
              <a:rPr lang="en-US" sz="1600">
                <a:cs typeface="Segoe UI" panose="020B0502040204020203" pitchFamily="34" charset="0"/>
              </a:rPr>
              <a:t>These should improve based on adoption and will show leadership the impact of Microsoft Viva Learning</a:t>
            </a:r>
          </a:p>
        </p:txBody>
      </p:sp>
      <p:grpSp>
        <p:nvGrpSpPr>
          <p:cNvPr id="119" name="Group 118">
            <a:extLst>
              <a:ext uri="{FF2B5EF4-FFF2-40B4-BE49-F238E27FC236}">
                <a16:creationId xmlns:a16="http://schemas.microsoft.com/office/drawing/2014/main" id="{FD174DCC-2172-4D0E-8BFB-B17487D91224}"/>
              </a:ext>
            </a:extLst>
          </p:cNvPr>
          <p:cNvGrpSpPr/>
          <p:nvPr/>
        </p:nvGrpSpPr>
        <p:grpSpPr>
          <a:xfrm>
            <a:off x="610494" y="3497344"/>
            <a:ext cx="377828" cy="377826"/>
            <a:chOff x="610494" y="3687141"/>
            <a:chExt cx="377828" cy="377826"/>
          </a:xfrm>
        </p:grpSpPr>
        <p:sp>
          <p:nvSpPr>
            <p:cNvPr id="89" name="Oval 88">
              <a:extLst>
                <a:ext uri="{FF2B5EF4-FFF2-40B4-BE49-F238E27FC236}">
                  <a16:creationId xmlns:a16="http://schemas.microsoft.com/office/drawing/2014/main" id="{A8281754-3BBE-4D6A-AC00-8823881D22F0}"/>
                </a:ext>
              </a:extLst>
            </p:cNvPr>
            <p:cNvSpPr/>
            <p:nvPr/>
          </p:nvSpPr>
          <p:spPr bwMode="auto">
            <a:xfrm>
              <a:off x="610494" y="3687141"/>
              <a:ext cx="377828" cy="37782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18" name="information" title="Icon of a circle with the letter i inside">
              <a:extLst>
                <a:ext uri="{FF2B5EF4-FFF2-40B4-BE49-F238E27FC236}">
                  <a16:creationId xmlns:a16="http://schemas.microsoft.com/office/drawing/2014/main" id="{FD7266C1-761D-4852-8D02-8EC5555F865D}"/>
                </a:ext>
              </a:extLst>
            </p:cNvPr>
            <p:cNvSpPr>
              <a:spLocks noChangeAspect="1" noEditPoints="1"/>
            </p:cNvSpPr>
            <p:nvPr/>
          </p:nvSpPr>
          <p:spPr bwMode="auto">
            <a:xfrm>
              <a:off x="685399" y="3761348"/>
              <a:ext cx="228018" cy="229412"/>
            </a:xfrm>
            <a:custGeom>
              <a:avLst/>
              <a:gdLst>
                <a:gd name="T0" fmla="*/ 0 w 333"/>
                <a:gd name="T1" fmla="*/ 170 h 340"/>
                <a:gd name="T2" fmla="*/ 167 w 333"/>
                <a:gd name="T3" fmla="*/ 0 h 340"/>
                <a:gd name="T4" fmla="*/ 333 w 333"/>
                <a:gd name="T5" fmla="*/ 170 h 340"/>
                <a:gd name="T6" fmla="*/ 167 w 333"/>
                <a:gd name="T7" fmla="*/ 340 h 340"/>
                <a:gd name="T8" fmla="*/ 0 w 333"/>
                <a:gd name="T9" fmla="*/ 170 h 340"/>
                <a:gd name="T10" fmla="*/ 163 w 333"/>
                <a:gd name="T11" fmla="*/ 252 h 340"/>
                <a:gd name="T12" fmla="*/ 163 w 333"/>
                <a:gd name="T13" fmla="*/ 150 h 340"/>
                <a:gd name="T14" fmla="*/ 163 w 333"/>
                <a:gd name="T15" fmla="*/ 121 h 340"/>
                <a:gd name="T16" fmla="*/ 163 w 333"/>
                <a:gd name="T17" fmla="*/ 8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40">
                  <a:moveTo>
                    <a:pt x="0" y="170"/>
                  </a:moveTo>
                  <a:cubicBezTo>
                    <a:pt x="0" y="76"/>
                    <a:pt x="75" y="0"/>
                    <a:pt x="167" y="0"/>
                  </a:cubicBezTo>
                  <a:cubicBezTo>
                    <a:pt x="259" y="0"/>
                    <a:pt x="333" y="76"/>
                    <a:pt x="333" y="170"/>
                  </a:cubicBezTo>
                  <a:cubicBezTo>
                    <a:pt x="333" y="264"/>
                    <a:pt x="259" y="340"/>
                    <a:pt x="167" y="340"/>
                  </a:cubicBezTo>
                  <a:cubicBezTo>
                    <a:pt x="75" y="340"/>
                    <a:pt x="0" y="264"/>
                    <a:pt x="0" y="170"/>
                  </a:cubicBezTo>
                  <a:close/>
                  <a:moveTo>
                    <a:pt x="163" y="252"/>
                  </a:moveTo>
                  <a:cubicBezTo>
                    <a:pt x="163" y="150"/>
                    <a:pt x="163" y="150"/>
                    <a:pt x="163" y="150"/>
                  </a:cubicBezTo>
                  <a:moveTo>
                    <a:pt x="163" y="121"/>
                  </a:moveTo>
                  <a:cubicBezTo>
                    <a:pt x="163" y="88"/>
                    <a:pt x="163" y="88"/>
                    <a:pt x="163" y="8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
        <p:nvSpPr>
          <p:cNvPr id="83" name="Rectangle 82">
            <a:extLst>
              <a:ext uri="{FF2B5EF4-FFF2-40B4-BE49-F238E27FC236}">
                <a16:creationId xmlns:a16="http://schemas.microsoft.com/office/drawing/2014/main" id="{01BC7739-F0E5-4CB8-A08E-DBA8834AF1C3}"/>
              </a:ext>
            </a:extLst>
          </p:cNvPr>
          <p:cNvSpPr>
            <a:spLocks/>
          </p:cNvSpPr>
          <p:nvPr/>
        </p:nvSpPr>
        <p:spPr>
          <a:xfrm>
            <a:off x="1352763" y="4602706"/>
            <a:ext cx="5486188" cy="276999"/>
          </a:xfrm>
          <a:prstGeom prst="rect">
            <a:avLst/>
          </a:prstGeom>
        </p:spPr>
        <p:txBody>
          <a:bodyPr wrap="square" lIns="0" tIns="0" rIns="0" bIns="0">
            <a:spAutoFit/>
          </a:bodyPr>
          <a:lstStyle/>
          <a:p>
            <a:pPr marL="0" lvl="1" defTabSz="896181">
              <a:spcBef>
                <a:spcPts val="600"/>
              </a:spcBef>
              <a:spcAft>
                <a:spcPts val="600"/>
              </a:spcAft>
              <a:buSzPct val="90000"/>
            </a:pPr>
            <a:r>
              <a:rPr lang="en-US">
                <a:cs typeface="Segoe UI" panose="020B0502040204020203" pitchFamily="34" charset="0"/>
              </a:rPr>
              <a:t>Establish </a:t>
            </a:r>
            <a:r>
              <a:rPr lang="en-US" err="1">
                <a:cs typeface="Segoe UI" panose="020B0502040204020203" pitchFamily="34" charset="0"/>
              </a:rPr>
              <a:t>KPI</a:t>
            </a:r>
            <a:r>
              <a:rPr lang="en-US">
                <a:cs typeface="Segoe UI" panose="020B0502040204020203" pitchFamily="34" charset="0"/>
              </a:rPr>
              <a:t> benchmarks</a:t>
            </a:r>
          </a:p>
        </p:txBody>
      </p:sp>
      <p:grpSp>
        <p:nvGrpSpPr>
          <p:cNvPr id="121" name="Group 120">
            <a:extLst>
              <a:ext uri="{FF2B5EF4-FFF2-40B4-BE49-F238E27FC236}">
                <a16:creationId xmlns:a16="http://schemas.microsoft.com/office/drawing/2014/main" id="{8B50C3A6-8B6F-40ED-B907-41441934E3A4}"/>
              </a:ext>
            </a:extLst>
          </p:cNvPr>
          <p:cNvGrpSpPr/>
          <p:nvPr/>
        </p:nvGrpSpPr>
        <p:grpSpPr>
          <a:xfrm>
            <a:off x="610494" y="4536903"/>
            <a:ext cx="377828" cy="377826"/>
            <a:chOff x="610494" y="4631803"/>
            <a:chExt cx="377828" cy="377826"/>
          </a:xfrm>
        </p:grpSpPr>
        <p:sp>
          <p:nvSpPr>
            <p:cNvPr id="92" name="Oval 91">
              <a:extLst>
                <a:ext uri="{FF2B5EF4-FFF2-40B4-BE49-F238E27FC236}">
                  <a16:creationId xmlns:a16="http://schemas.microsoft.com/office/drawing/2014/main" id="{E266C6CD-9132-4764-8586-457B26A284C0}"/>
                </a:ext>
              </a:extLst>
            </p:cNvPr>
            <p:cNvSpPr/>
            <p:nvPr/>
          </p:nvSpPr>
          <p:spPr bwMode="auto">
            <a:xfrm>
              <a:off x="610494" y="4631803"/>
              <a:ext cx="377828" cy="37782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20" name="target_2" title="Icon of a target with an arrow hitting the bullseye">
              <a:extLst>
                <a:ext uri="{FF2B5EF4-FFF2-40B4-BE49-F238E27FC236}">
                  <a16:creationId xmlns:a16="http://schemas.microsoft.com/office/drawing/2014/main" id="{381080AE-8624-4863-B3D2-A9A59ACE750C}"/>
                </a:ext>
              </a:extLst>
            </p:cNvPr>
            <p:cNvSpPr>
              <a:spLocks noChangeAspect="1" noEditPoints="1"/>
            </p:cNvSpPr>
            <p:nvPr/>
          </p:nvSpPr>
          <p:spPr bwMode="auto">
            <a:xfrm>
              <a:off x="688362" y="4710113"/>
              <a:ext cx="222092" cy="22120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sp>
        <p:nvSpPr>
          <p:cNvPr id="84" name="Rectangle 83">
            <a:extLst>
              <a:ext uri="{FF2B5EF4-FFF2-40B4-BE49-F238E27FC236}">
                <a16:creationId xmlns:a16="http://schemas.microsoft.com/office/drawing/2014/main" id="{DE8AB6AD-4FF5-4945-8AE2-7CB9D9FDEAA6}"/>
              </a:ext>
            </a:extLst>
          </p:cNvPr>
          <p:cNvSpPr>
            <a:spLocks/>
          </p:cNvSpPr>
          <p:nvPr/>
        </p:nvSpPr>
        <p:spPr>
          <a:xfrm>
            <a:off x="1352763" y="5396045"/>
            <a:ext cx="5486188" cy="553998"/>
          </a:xfrm>
          <a:prstGeom prst="rect">
            <a:avLst/>
          </a:prstGeom>
        </p:spPr>
        <p:txBody>
          <a:bodyPr wrap="square" lIns="0" tIns="0" rIns="0" bIns="0">
            <a:spAutoFit/>
          </a:bodyPr>
          <a:lstStyle/>
          <a:p>
            <a:pPr marL="0" lvl="1" defTabSz="896181">
              <a:spcBef>
                <a:spcPts val="600"/>
              </a:spcBef>
              <a:spcAft>
                <a:spcPts val="600"/>
              </a:spcAft>
              <a:buSzPct val="90000"/>
            </a:pPr>
            <a:r>
              <a:rPr lang="en-US">
                <a:cs typeface="Segoe UI" panose="020B0502040204020203" pitchFamily="34" charset="0"/>
              </a:rPr>
              <a:t>Determine ways to gather and measure user satisfaction and progress against benchmarks</a:t>
            </a:r>
          </a:p>
        </p:txBody>
      </p:sp>
      <p:grpSp>
        <p:nvGrpSpPr>
          <p:cNvPr id="132" name="Group 131">
            <a:extLst>
              <a:ext uri="{FF2B5EF4-FFF2-40B4-BE49-F238E27FC236}">
                <a16:creationId xmlns:a16="http://schemas.microsoft.com/office/drawing/2014/main" id="{4FAAC31A-C7F5-4077-9CEA-F2089872E162}"/>
              </a:ext>
            </a:extLst>
          </p:cNvPr>
          <p:cNvGrpSpPr/>
          <p:nvPr/>
        </p:nvGrpSpPr>
        <p:grpSpPr>
          <a:xfrm>
            <a:off x="610494" y="5453353"/>
            <a:ext cx="377828" cy="377826"/>
            <a:chOff x="610494" y="5453353"/>
            <a:chExt cx="377828" cy="377826"/>
          </a:xfrm>
        </p:grpSpPr>
        <p:sp>
          <p:nvSpPr>
            <p:cNvPr id="95" name="Oval 94">
              <a:extLst>
                <a:ext uri="{FF2B5EF4-FFF2-40B4-BE49-F238E27FC236}">
                  <a16:creationId xmlns:a16="http://schemas.microsoft.com/office/drawing/2014/main" id="{5B2E0DEE-0CF7-4004-92F3-B5D05023D2D9}"/>
                </a:ext>
              </a:extLst>
            </p:cNvPr>
            <p:cNvSpPr/>
            <p:nvPr/>
          </p:nvSpPr>
          <p:spPr bwMode="auto">
            <a:xfrm>
              <a:off x="610494" y="5453353"/>
              <a:ext cx="377828" cy="37782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27" name="Graphic 292">
              <a:extLst>
                <a:ext uri="{FF2B5EF4-FFF2-40B4-BE49-F238E27FC236}">
                  <a16:creationId xmlns:a16="http://schemas.microsoft.com/office/drawing/2014/main" id="{82F1212A-8892-42BD-BC94-25BB50397828}"/>
                </a:ext>
              </a:extLst>
            </p:cNvPr>
            <p:cNvGrpSpPr/>
            <p:nvPr/>
          </p:nvGrpSpPr>
          <p:grpSpPr>
            <a:xfrm>
              <a:off x="641025" y="5579170"/>
              <a:ext cx="318205" cy="128186"/>
              <a:chOff x="5848095" y="3349814"/>
              <a:chExt cx="743616" cy="299561"/>
            </a:xfrm>
          </p:grpSpPr>
          <p:sp>
            <p:nvSpPr>
              <p:cNvPr id="128" name="Freeform: Shape 127">
                <a:extLst>
                  <a:ext uri="{FF2B5EF4-FFF2-40B4-BE49-F238E27FC236}">
                    <a16:creationId xmlns:a16="http://schemas.microsoft.com/office/drawing/2014/main" id="{7390AAA4-AF3B-441E-85AB-535CA1DFBA17}"/>
                  </a:ext>
                </a:extLst>
              </p:cNvPr>
              <p:cNvSpPr/>
              <p:nvPr/>
            </p:nvSpPr>
            <p:spPr>
              <a:xfrm>
                <a:off x="6058788" y="3349814"/>
                <a:ext cx="324611" cy="287464"/>
              </a:xfrm>
              <a:custGeom>
                <a:avLst/>
                <a:gdLst>
                  <a:gd name="connsiteX0" fmla="*/ 102584 w 324611"/>
                  <a:gd name="connsiteY0" fmla="*/ 138208 h 287464"/>
                  <a:gd name="connsiteX1" fmla="*/ 161735 w 324611"/>
                  <a:gd name="connsiteY1" fmla="*/ 75819 h 287464"/>
                  <a:gd name="connsiteX2" fmla="*/ 220885 w 324611"/>
                  <a:gd name="connsiteY2" fmla="*/ 138208 h 287464"/>
                  <a:gd name="connsiteX3" fmla="*/ 161735 w 324611"/>
                  <a:gd name="connsiteY3" fmla="*/ 200597 h 287464"/>
                  <a:gd name="connsiteX4" fmla="*/ 102584 w 324611"/>
                  <a:gd name="connsiteY4" fmla="*/ 138208 h 287464"/>
                  <a:gd name="connsiteX5" fmla="*/ 102584 w 324611"/>
                  <a:gd name="connsiteY5" fmla="*/ 138208 h 287464"/>
                  <a:gd name="connsiteX6" fmla="*/ 102584 w 324611"/>
                  <a:gd name="connsiteY6" fmla="*/ 138208 h 287464"/>
                  <a:gd name="connsiteX7" fmla="*/ 102584 w 324611"/>
                  <a:gd name="connsiteY7" fmla="*/ 138208 h 287464"/>
                  <a:gd name="connsiteX8" fmla="*/ 246221 w 324611"/>
                  <a:gd name="connsiteY8" fmla="*/ 287465 h 287464"/>
                  <a:gd name="connsiteX9" fmla="*/ 161735 w 324611"/>
                  <a:gd name="connsiteY9" fmla="*/ 201835 h 287464"/>
                  <a:gd name="connsiteX10" fmla="*/ 78486 w 324611"/>
                  <a:gd name="connsiteY10" fmla="*/ 287465 h 287464"/>
                  <a:gd name="connsiteX11" fmla="*/ 51911 w 324611"/>
                  <a:gd name="connsiteY11" fmla="*/ 78296 h 287464"/>
                  <a:gd name="connsiteX12" fmla="*/ 89344 w 324611"/>
                  <a:gd name="connsiteY12" fmla="*/ 39148 h 287464"/>
                  <a:gd name="connsiteX13" fmla="*/ 51911 w 324611"/>
                  <a:gd name="connsiteY13" fmla="*/ 0 h 287464"/>
                  <a:gd name="connsiteX14" fmla="*/ 14478 w 324611"/>
                  <a:gd name="connsiteY14" fmla="*/ 39148 h 287464"/>
                  <a:gd name="connsiteX15" fmla="*/ 51911 w 324611"/>
                  <a:gd name="connsiteY15" fmla="*/ 78296 h 287464"/>
                  <a:gd name="connsiteX16" fmla="*/ 51911 w 324611"/>
                  <a:gd name="connsiteY16" fmla="*/ 78296 h 287464"/>
                  <a:gd name="connsiteX17" fmla="*/ 51911 w 324611"/>
                  <a:gd name="connsiteY17" fmla="*/ 78296 h 287464"/>
                  <a:gd name="connsiteX18" fmla="*/ 51911 w 324611"/>
                  <a:gd name="connsiteY18" fmla="*/ 78296 h 287464"/>
                  <a:gd name="connsiteX19" fmla="*/ 102584 w 324611"/>
                  <a:gd name="connsiteY19" fmla="*/ 123539 h 287464"/>
                  <a:gd name="connsiteX20" fmla="*/ 51911 w 324611"/>
                  <a:gd name="connsiteY20" fmla="*/ 80677 h 287464"/>
                  <a:gd name="connsiteX21" fmla="*/ 0 w 324611"/>
                  <a:gd name="connsiteY21" fmla="*/ 133255 h 287464"/>
                  <a:gd name="connsiteX22" fmla="*/ 272796 w 324611"/>
                  <a:gd name="connsiteY22" fmla="*/ 78296 h 287464"/>
                  <a:gd name="connsiteX23" fmla="*/ 310229 w 324611"/>
                  <a:gd name="connsiteY23" fmla="*/ 39148 h 287464"/>
                  <a:gd name="connsiteX24" fmla="*/ 272796 w 324611"/>
                  <a:gd name="connsiteY24" fmla="*/ 0 h 287464"/>
                  <a:gd name="connsiteX25" fmla="*/ 235363 w 324611"/>
                  <a:gd name="connsiteY25" fmla="*/ 39148 h 287464"/>
                  <a:gd name="connsiteX26" fmla="*/ 272796 w 324611"/>
                  <a:gd name="connsiteY26" fmla="*/ 78296 h 287464"/>
                  <a:gd name="connsiteX27" fmla="*/ 272796 w 324611"/>
                  <a:gd name="connsiteY27" fmla="*/ 78296 h 287464"/>
                  <a:gd name="connsiteX28" fmla="*/ 272796 w 324611"/>
                  <a:gd name="connsiteY28" fmla="*/ 78296 h 287464"/>
                  <a:gd name="connsiteX29" fmla="*/ 272796 w 324611"/>
                  <a:gd name="connsiteY29" fmla="*/ 78296 h 287464"/>
                  <a:gd name="connsiteX30" fmla="*/ 324612 w 324611"/>
                  <a:gd name="connsiteY30" fmla="*/ 133350 h 287464"/>
                  <a:gd name="connsiteX31" fmla="*/ 272701 w 324611"/>
                  <a:gd name="connsiteY31" fmla="*/ 80772 h 287464"/>
                  <a:gd name="connsiteX32" fmla="*/ 220789 w 324611"/>
                  <a:gd name="connsiteY32" fmla="*/ 123635 h 28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24611" h="287464">
                    <a:moveTo>
                      <a:pt x="102584" y="138208"/>
                    </a:moveTo>
                    <a:cubicBezTo>
                      <a:pt x="102584" y="103918"/>
                      <a:pt x="129159" y="75819"/>
                      <a:pt x="161735" y="75819"/>
                    </a:cubicBezTo>
                    <a:cubicBezTo>
                      <a:pt x="195548" y="75819"/>
                      <a:pt x="220885" y="103918"/>
                      <a:pt x="220885" y="138208"/>
                    </a:cubicBezTo>
                    <a:cubicBezTo>
                      <a:pt x="220885" y="172498"/>
                      <a:pt x="194310" y="200597"/>
                      <a:pt x="161735" y="200597"/>
                    </a:cubicBezTo>
                    <a:cubicBezTo>
                      <a:pt x="129159" y="200597"/>
                      <a:pt x="102584" y="172498"/>
                      <a:pt x="102584" y="138208"/>
                    </a:cubicBezTo>
                    <a:lnTo>
                      <a:pt x="102584" y="138208"/>
                    </a:lnTo>
                    <a:lnTo>
                      <a:pt x="102584" y="138208"/>
                    </a:lnTo>
                    <a:lnTo>
                      <a:pt x="102584" y="138208"/>
                    </a:lnTo>
                    <a:close/>
                    <a:moveTo>
                      <a:pt x="246221" y="287465"/>
                    </a:moveTo>
                    <a:cubicBezTo>
                      <a:pt x="246221" y="239744"/>
                      <a:pt x="208788" y="201835"/>
                      <a:pt x="161735" y="201835"/>
                    </a:cubicBezTo>
                    <a:cubicBezTo>
                      <a:pt x="115919" y="201835"/>
                      <a:pt x="78486" y="240983"/>
                      <a:pt x="78486" y="287465"/>
                    </a:cubicBezTo>
                    <a:moveTo>
                      <a:pt x="51911" y="78296"/>
                    </a:moveTo>
                    <a:cubicBezTo>
                      <a:pt x="72390" y="78296"/>
                      <a:pt x="89344" y="61151"/>
                      <a:pt x="89344" y="39148"/>
                    </a:cubicBezTo>
                    <a:cubicBezTo>
                      <a:pt x="89344" y="18383"/>
                      <a:pt x="72485" y="0"/>
                      <a:pt x="51911" y="0"/>
                    </a:cubicBezTo>
                    <a:cubicBezTo>
                      <a:pt x="31432" y="0"/>
                      <a:pt x="14478" y="17145"/>
                      <a:pt x="14478" y="39148"/>
                    </a:cubicBezTo>
                    <a:cubicBezTo>
                      <a:pt x="14573" y="61151"/>
                      <a:pt x="31432" y="78296"/>
                      <a:pt x="51911" y="78296"/>
                    </a:cubicBezTo>
                    <a:lnTo>
                      <a:pt x="51911" y="78296"/>
                    </a:lnTo>
                    <a:lnTo>
                      <a:pt x="51911" y="78296"/>
                    </a:lnTo>
                    <a:lnTo>
                      <a:pt x="51911" y="78296"/>
                    </a:lnTo>
                    <a:close/>
                    <a:moveTo>
                      <a:pt x="102584" y="123539"/>
                    </a:moveTo>
                    <a:cubicBezTo>
                      <a:pt x="97727" y="99060"/>
                      <a:pt x="77248" y="80677"/>
                      <a:pt x="51911" y="80677"/>
                    </a:cubicBezTo>
                    <a:cubicBezTo>
                      <a:pt x="22955" y="80677"/>
                      <a:pt x="0" y="105156"/>
                      <a:pt x="0" y="133255"/>
                    </a:cubicBezTo>
                    <a:moveTo>
                      <a:pt x="272796" y="78296"/>
                    </a:moveTo>
                    <a:cubicBezTo>
                      <a:pt x="293275" y="78296"/>
                      <a:pt x="310229" y="61151"/>
                      <a:pt x="310229" y="39148"/>
                    </a:cubicBezTo>
                    <a:cubicBezTo>
                      <a:pt x="310229" y="18383"/>
                      <a:pt x="293370" y="0"/>
                      <a:pt x="272796" y="0"/>
                    </a:cubicBezTo>
                    <a:cubicBezTo>
                      <a:pt x="252222" y="0"/>
                      <a:pt x="235363" y="17145"/>
                      <a:pt x="235363" y="39148"/>
                    </a:cubicBezTo>
                    <a:cubicBezTo>
                      <a:pt x="235363" y="61151"/>
                      <a:pt x="252222" y="78296"/>
                      <a:pt x="272796" y="78296"/>
                    </a:cubicBezTo>
                    <a:lnTo>
                      <a:pt x="272796" y="78296"/>
                    </a:lnTo>
                    <a:lnTo>
                      <a:pt x="272796" y="78296"/>
                    </a:lnTo>
                    <a:lnTo>
                      <a:pt x="272796" y="78296"/>
                    </a:lnTo>
                    <a:close/>
                    <a:moveTo>
                      <a:pt x="324612" y="133350"/>
                    </a:moveTo>
                    <a:cubicBezTo>
                      <a:pt x="324612" y="104013"/>
                      <a:pt x="301657" y="80772"/>
                      <a:pt x="272701" y="80772"/>
                    </a:cubicBezTo>
                    <a:cubicBezTo>
                      <a:pt x="247364" y="80772"/>
                      <a:pt x="225647" y="99155"/>
                      <a:pt x="220789" y="123635"/>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29" name="Freeform: Shape 128">
                <a:extLst>
                  <a:ext uri="{FF2B5EF4-FFF2-40B4-BE49-F238E27FC236}">
                    <a16:creationId xmlns:a16="http://schemas.microsoft.com/office/drawing/2014/main" id="{491C1624-524F-4ED3-8272-5D4AF6CD8160}"/>
                  </a:ext>
                </a:extLst>
              </p:cNvPr>
              <p:cNvSpPr/>
              <p:nvPr/>
            </p:nvSpPr>
            <p:spPr>
              <a:xfrm>
                <a:off x="5967539" y="3482688"/>
                <a:ext cx="503681" cy="166687"/>
              </a:xfrm>
              <a:custGeom>
                <a:avLst/>
                <a:gdLst>
                  <a:gd name="connsiteX0" fmla="*/ 417671 w 503681"/>
                  <a:gd name="connsiteY0" fmla="*/ 0 h 166687"/>
                  <a:gd name="connsiteX1" fmla="*/ 503682 w 503681"/>
                  <a:gd name="connsiteY1" fmla="*/ 71628 h 166687"/>
                  <a:gd name="connsiteX2" fmla="*/ 251841 w 503681"/>
                  <a:gd name="connsiteY2" fmla="*/ 166687 h 166687"/>
                  <a:gd name="connsiteX3" fmla="*/ 0 w 503681"/>
                  <a:gd name="connsiteY3" fmla="*/ 71628 h 166687"/>
                  <a:gd name="connsiteX4" fmla="*/ 87154 w 503681"/>
                  <a:gd name="connsiteY4" fmla="*/ 0 h 16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681" h="166687">
                    <a:moveTo>
                      <a:pt x="417671" y="0"/>
                    </a:moveTo>
                    <a:cubicBezTo>
                      <a:pt x="470916" y="17240"/>
                      <a:pt x="503682" y="43244"/>
                      <a:pt x="503682" y="71628"/>
                    </a:cubicBezTo>
                    <a:cubicBezTo>
                      <a:pt x="503682" y="123444"/>
                      <a:pt x="391097" y="166687"/>
                      <a:pt x="251841" y="166687"/>
                    </a:cubicBezTo>
                    <a:cubicBezTo>
                      <a:pt x="112586" y="166687"/>
                      <a:pt x="0" y="124682"/>
                      <a:pt x="0" y="71628"/>
                    </a:cubicBezTo>
                    <a:cubicBezTo>
                      <a:pt x="0" y="43244"/>
                      <a:pt x="33909" y="17336"/>
                      <a:pt x="87154" y="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30" name="Freeform: Shape 129">
                <a:extLst>
                  <a:ext uri="{FF2B5EF4-FFF2-40B4-BE49-F238E27FC236}">
                    <a16:creationId xmlns:a16="http://schemas.microsoft.com/office/drawing/2014/main" id="{C28E07E1-22F1-44B0-989A-0A718634FB43}"/>
                  </a:ext>
                </a:extLst>
              </p:cNvPr>
              <p:cNvSpPr/>
              <p:nvPr/>
            </p:nvSpPr>
            <p:spPr>
              <a:xfrm>
                <a:off x="5848095" y="3515454"/>
                <a:ext cx="103727" cy="35337"/>
              </a:xfrm>
              <a:custGeom>
                <a:avLst/>
                <a:gdLst>
                  <a:gd name="connsiteX0" fmla="*/ 30956 w 103727"/>
                  <a:gd name="connsiteY0" fmla="*/ 0 h 35337"/>
                  <a:gd name="connsiteX1" fmla="*/ 0 w 103727"/>
                  <a:gd name="connsiteY1" fmla="*/ 35338 h 35337"/>
                  <a:gd name="connsiteX2" fmla="*/ 103727 w 103727"/>
                  <a:gd name="connsiteY2" fmla="*/ 35338 h 35337"/>
                </a:gdLst>
                <a:ahLst/>
                <a:cxnLst>
                  <a:cxn ang="0">
                    <a:pos x="connsiteX0" y="connsiteY0"/>
                  </a:cxn>
                  <a:cxn ang="0">
                    <a:pos x="connsiteX1" y="connsiteY1"/>
                  </a:cxn>
                  <a:cxn ang="0">
                    <a:pos x="connsiteX2" y="connsiteY2"/>
                  </a:cxn>
                </a:cxnLst>
                <a:rect l="l" t="t" r="r" b="b"/>
                <a:pathLst>
                  <a:path w="103727" h="35337">
                    <a:moveTo>
                      <a:pt x="30956" y="0"/>
                    </a:moveTo>
                    <a:lnTo>
                      <a:pt x="0" y="35338"/>
                    </a:lnTo>
                    <a:lnTo>
                      <a:pt x="103727" y="3533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131" name="Freeform: Shape 130">
                <a:extLst>
                  <a:ext uri="{FF2B5EF4-FFF2-40B4-BE49-F238E27FC236}">
                    <a16:creationId xmlns:a16="http://schemas.microsoft.com/office/drawing/2014/main" id="{6A5D43D3-DFF9-4D1F-AA06-F186AB424C13}"/>
                  </a:ext>
                </a:extLst>
              </p:cNvPr>
              <p:cNvSpPr/>
              <p:nvPr/>
            </p:nvSpPr>
            <p:spPr>
              <a:xfrm>
                <a:off x="6487984" y="3550887"/>
                <a:ext cx="103727" cy="32575"/>
              </a:xfrm>
              <a:custGeom>
                <a:avLst/>
                <a:gdLst>
                  <a:gd name="connsiteX0" fmla="*/ 72771 w 103727"/>
                  <a:gd name="connsiteY0" fmla="*/ 32576 h 32575"/>
                  <a:gd name="connsiteX1" fmla="*/ 103727 w 103727"/>
                  <a:gd name="connsiteY1" fmla="*/ 0 h 32575"/>
                  <a:gd name="connsiteX2" fmla="*/ 0 w 103727"/>
                  <a:gd name="connsiteY2" fmla="*/ 0 h 32575"/>
                </a:gdLst>
                <a:ahLst/>
                <a:cxnLst>
                  <a:cxn ang="0">
                    <a:pos x="connsiteX0" y="connsiteY0"/>
                  </a:cxn>
                  <a:cxn ang="0">
                    <a:pos x="connsiteX1" y="connsiteY1"/>
                  </a:cxn>
                  <a:cxn ang="0">
                    <a:pos x="connsiteX2" y="connsiteY2"/>
                  </a:cxn>
                </a:cxnLst>
                <a:rect l="l" t="t" r="r" b="b"/>
                <a:pathLst>
                  <a:path w="103727" h="32575">
                    <a:moveTo>
                      <a:pt x="72771" y="32576"/>
                    </a:moveTo>
                    <a:lnTo>
                      <a:pt x="103727" y="0"/>
                    </a:lnTo>
                    <a:lnTo>
                      <a:pt x="0" y="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grpSp>
      </p:grpSp>
      <p:pic>
        <p:nvPicPr>
          <p:cNvPr id="161" name="Picture 160" descr="A person sitting at a table with a computer and other people in the background&#10;&#10;Description automatically generated with low confidence">
            <a:extLst>
              <a:ext uri="{FF2B5EF4-FFF2-40B4-BE49-F238E27FC236}">
                <a16:creationId xmlns:a16="http://schemas.microsoft.com/office/drawing/2014/main" id="{EC36F3B2-9718-4275-86B9-AB879A0FF1A1}"/>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799316" y="5378720"/>
            <a:ext cx="3005278" cy="1479281"/>
          </a:xfrm>
          <a:custGeom>
            <a:avLst/>
            <a:gdLst>
              <a:gd name="connsiteX0" fmla="*/ 1591355 w 3005278"/>
              <a:gd name="connsiteY0" fmla="*/ 53 h 1479281"/>
              <a:gd name="connsiteX1" fmla="*/ 1651388 w 3005278"/>
              <a:gd name="connsiteY1" fmla="*/ 27412 h 1479281"/>
              <a:gd name="connsiteX2" fmla="*/ 3005278 w 3005278"/>
              <a:gd name="connsiteY2" fmla="*/ 1479281 h 1479281"/>
              <a:gd name="connsiteX3" fmla="*/ 0 w 3005278"/>
              <a:gd name="connsiteY3" fmla="*/ 1479281 h 1479281"/>
              <a:gd name="connsiteX4" fmla="*/ 6045 w 3005278"/>
              <a:gd name="connsiteY4" fmla="*/ 1453120 h 1479281"/>
              <a:gd name="connsiteX5" fmla="*/ 25963 w 3005278"/>
              <a:gd name="connsiteY5" fmla="*/ 1425284 h 1479281"/>
              <a:gd name="connsiteX6" fmla="*/ 1529560 w 3005278"/>
              <a:gd name="connsiteY6" fmla="*/ 23157 h 1479281"/>
              <a:gd name="connsiteX7" fmla="*/ 1591355 w 3005278"/>
              <a:gd name="connsiteY7" fmla="*/ 53 h 1479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278" h="1479281">
                <a:moveTo>
                  <a:pt x="1591355" y="53"/>
                </a:moveTo>
                <a:cubicBezTo>
                  <a:pt x="1613402" y="823"/>
                  <a:pt x="1635155" y="10004"/>
                  <a:pt x="1651388" y="27412"/>
                </a:cubicBezTo>
                <a:lnTo>
                  <a:pt x="3005278" y="1479281"/>
                </a:lnTo>
                <a:lnTo>
                  <a:pt x="0" y="1479281"/>
                </a:lnTo>
                <a:lnTo>
                  <a:pt x="6045" y="1453120"/>
                </a:lnTo>
                <a:cubicBezTo>
                  <a:pt x="10612" y="1442897"/>
                  <a:pt x="17259" y="1433401"/>
                  <a:pt x="25963" y="1425284"/>
                </a:cubicBezTo>
                <a:lnTo>
                  <a:pt x="1529560" y="23157"/>
                </a:lnTo>
                <a:cubicBezTo>
                  <a:pt x="1546969" y="6924"/>
                  <a:pt x="1569309" y="-717"/>
                  <a:pt x="1591355" y="53"/>
                </a:cubicBezTo>
                <a:close/>
              </a:path>
            </a:pathLst>
          </a:custGeom>
        </p:spPr>
      </p:pic>
    </p:spTree>
    <p:extLst>
      <p:ext uri="{BB962C8B-B14F-4D97-AF65-F5344CB8AC3E}">
        <p14:creationId xmlns:p14="http://schemas.microsoft.com/office/powerpoint/2010/main" val="36273371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Top Corners Rounded 11">
            <a:extLst>
              <a:ext uri="{FF2B5EF4-FFF2-40B4-BE49-F238E27FC236}">
                <a16:creationId xmlns:a16="http://schemas.microsoft.com/office/drawing/2014/main" id="{9869B7A9-5E3C-4273-BFB3-7B5824D287F8}"/>
              </a:ext>
            </a:extLst>
          </p:cNvPr>
          <p:cNvSpPr/>
          <p:nvPr/>
        </p:nvSpPr>
        <p:spPr bwMode="auto">
          <a:xfrm>
            <a:off x="577054" y="1950676"/>
            <a:ext cx="3994946" cy="463130"/>
          </a:xfrm>
          <a:prstGeom prst="round2SameRect">
            <a:avLst>
              <a:gd name="adj1" fmla="val 11958"/>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Rectangle: Top Corners Rounded 14">
            <a:extLst>
              <a:ext uri="{FF2B5EF4-FFF2-40B4-BE49-F238E27FC236}">
                <a16:creationId xmlns:a16="http://schemas.microsoft.com/office/drawing/2014/main" id="{E48E868C-7B95-4D2F-83B6-D88E609C141E}"/>
              </a:ext>
            </a:extLst>
          </p:cNvPr>
          <p:cNvSpPr/>
          <p:nvPr/>
        </p:nvSpPr>
        <p:spPr bwMode="auto">
          <a:xfrm>
            <a:off x="4625577" y="1950676"/>
            <a:ext cx="3089674" cy="463130"/>
          </a:xfrm>
          <a:prstGeom prst="round2SameRect">
            <a:avLst>
              <a:gd name="adj1" fmla="val 11958"/>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Rectangle: Top Corners Rounded 15">
            <a:extLst>
              <a:ext uri="{FF2B5EF4-FFF2-40B4-BE49-F238E27FC236}">
                <a16:creationId xmlns:a16="http://schemas.microsoft.com/office/drawing/2014/main" id="{33B31700-5A2B-4227-8C35-0EC43CBBAE77}"/>
              </a:ext>
            </a:extLst>
          </p:cNvPr>
          <p:cNvSpPr/>
          <p:nvPr/>
        </p:nvSpPr>
        <p:spPr bwMode="auto">
          <a:xfrm>
            <a:off x="7768828" y="1950676"/>
            <a:ext cx="3846117" cy="463130"/>
          </a:xfrm>
          <a:prstGeom prst="round2SameRect">
            <a:avLst>
              <a:gd name="adj1" fmla="val 11958"/>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aphicFrame>
        <p:nvGraphicFramePr>
          <p:cNvPr id="8" name="Table 8">
            <a:extLst>
              <a:ext uri="{FF2B5EF4-FFF2-40B4-BE49-F238E27FC236}">
                <a16:creationId xmlns:a16="http://schemas.microsoft.com/office/drawing/2014/main" id="{4BD0150A-C9F7-4407-BBE1-89421A8D5A0E}"/>
              </a:ext>
            </a:extLst>
          </p:cNvPr>
          <p:cNvGraphicFramePr>
            <a:graphicFrameLocks noGrp="1"/>
          </p:cNvGraphicFramePr>
          <p:nvPr>
            <p:extLst>
              <p:ext uri="{D42A27DB-BD31-4B8C-83A1-F6EECF244321}">
                <p14:modId xmlns:p14="http://schemas.microsoft.com/office/powerpoint/2010/main" val="2046467843"/>
              </p:ext>
            </p:extLst>
          </p:nvPr>
        </p:nvGraphicFramePr>
        <p:xfrm>
          <a:off x="588264" y="2012855"/>
          <a:ext cx="11037891" cy="4736560"/>
        </p:xfrm>
        <a:graphic>
          <a:graphicData uri="http://schemas.openxmlformats.org/drawingml/2006/table">
            <a:tbl>
              <a:tblPr firstRow="1" bandRow="1">
                <a:tableStyleId>{5C22544A-7EE6-4342-B048-85BDC9FD1C3A}</a:tableStyleId>
              </a:tblPr>
              <a:tblGrid>
                <a:gridCol w="3993409">
                  <a:extLst>
                    <a:ext uri="{9D8B030D-6E8A-4147-A177-3AD203B41FA5}">
                      <a16:colId xmlns:a16="http://schemas.microsoft.com/office/drawing/2014/main" val="3017995741"/>
                    </a:ext>
                  </a:extLst>
                </a:gridCol>
                <a:gridCol w="3125737">
                  <a:extLst>
                    <a:ext uri="{9D8B030D-6E8A-4147-A177-3AD203B41FA5}">
                      <a16:colId xmlns:a16="http://schemas.microsoft.com/office/drawing/2014/main" val="2941825326"/>
                    </a:ext>
                  </a:extLst>
                </a:gridCol>
                <a:gridCol w="3918745">
                  <a:extLst>
                    <a:ext uri="{9D8B030D-6E8A-4147-A177-3AD203B41FA5}">
                      <a16:colId xmlns:a16="http://schemas.microsoft.com/office/drawing/2014/main" val="3526352580"/>
                    </a:ext>
                  </a:extLst>
                </a:gridCol>
              </a:tblGrid>
              <a:tr h="374005">
                <a:tc>
                  <a:txBody>
                    <a:bodyPr/>
                    <a:lstStyle/>
                    <a:p>
                      <a:r>
                        <a:rPr lang="en-US" sz="1400" b="0">
                          <a:solidFill>
                            <a:schemeClr val="bg1"/>
                          </a:solidFill>
                          <a:latin typeface="+mj-lt"/>
                        </a:rPr>
                        <a:t>Success Measure</a:t>
                      </a:r>
                    </a:p>
                  </a:txBody>
                  <a:tcPr marT="91440" marB="91440">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a:solidFill>
                            <a:schemeClr val="bg1"/>
                          </a:solidFill>
                          <a:latin typeface="+mj-lt"/>
                        </a:rPr>
                        <a:t>Method</a:t>
                      </a:r>
                    </a:p>
                  </a:txBody>
                  <a:tcPr marL="137160" marT="91440" marB="91440">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a:solidFill>
                            <a:schemeClr val="bg1"/>
                          </a:solidFill>
                          <a:latin typeface="+mj-lt"/>
                        </a:rPr>
                        <a:t>Goal</a:t>
                      </a:r>
                    </a:p>
                  </a:txBody>
                  <a:tcPr marL="137160" marT="91440" marB="91440">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03706107"/>
                  </a:ext>
                </a:extLst>
              </a:tr>
              <a:tr h="641152">
                <a:tc>
                  <a:txBody>
                    <a:bodyPr/>
                    <a:lstStyle/>
                    <a:p>
                      <a:pPr marL="0" algn="l" defTabSz="932742" rtl="0" eaLnBrk="1" latinLnBrk="0" hangingPunct="1"/>
                      <a:r>
                        <a:rPr lang="en-US" sz="1100" kern="1200">
                          <a:solidFill>
                            <a:schemeClr val="tx1"/>
                          </a:solidFill>
                          <a:latin typeface="+mj-lt"/>
                          <a:ea typeface="+mn-ea"/>
                          <a:cs typeface="+mn-cs"/>
                        </a:rPr>
                        <a:t>Employee satisfaction</a:t>
                      </a:r>
                    </a:p>
                    <a:p>
                      <a:r>
                        <a:rPr lang="en-US" sz="1100">
                          <a:solidFill>
                            <a:schemeClr val="tx1"/>
                          </a:solidFill>
                        </a:rPr>
                        <a:t>Enable learning in the flow of work to increase engagement and improve satisfaction</a:t>
                      </a: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US" sz="1100">
                          <a:solidFill>
                            <a:schemeClr val="tx1"/>
                          </a:solidFill>
                        </a:rPr>
                        <a:t>Qualitative surveys</a:t>
                      </a:r>
                    </a:p>
                  </a:txBody>
                  <a:tcPr marL="137160"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solidFill>
                            <a:schemeClr val="tx1"/>
                          </a:solidFill>
                        </a:rPr>
                        <a:t>Higher satisfaction rating compared to satisfaction before rolling out Microsoft Viva Learning</a:t>
                      </a:r>
                    </a:p>
                  </a:txBody>
                  <a:tcPr marL="137160"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8926585"/>
                  </a:ext>
                </a:extLst>
              </a:tr>
              <a:tr h="1429480">
                <a:tc>
                  <a:txBody>
                    <a:bodyPr/>
                    <a:lstStyle/>
                    <a:p>
                      <a:r>
                        <a:rPr lang="en-US" sz="1100">
                          <a:solidFill>
                            <a:schemeClr val="tx1"/>
                          </a:solidFill>
                          <a:latin typeface="+mj-lt"/>
                        </a:rPr>
                        <a:t>Increased learning engagement</a:t>
                      </a:r>
                    </a:p>
                    <a:p>
                      <a:r>
                        <a:rPr lang="en-US" sz="1100">
                          <a:solidFill>
                            <a:schemeClr val="tx1"/>
                          </a:solidFill>
                        </a:rPr>
                        <a:t>Streamline access to learning content to increase engagement</a:t>
                      </a: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US" sz="1100">
                          <a:solidFill>
                            <a:schemeClr val="tx1"/>
                          </a:solidFill>
                        </a:rPr>
                        <a:t>Qualitative surveys</a:t>
                      </a:r>
                    </a:p>
                    <a:p>
                      <a:pPr marL="0" algn="l" defTabSz="932742" rtl="0" eaLnBrk="1" latinLnBrk="0" hangingPunct="1">
                        <a:spcAft>
                          <a:spcPts val="600"/>
                        </a:spcAft>
                      </a:pPr>
                      <a:r>
                        <a:rPr lang="en-US" sz="1100" kern="1200">
                          <a:solidFill>
                            <a:schemeClr val="tx1"/>
                          </a:solidFill>
                          <a:latin typeface="+mn-lt"/>
                          <a:ea typeface="+mn-ea"/>
                          <a:cs typeface="+mn-cs"/>
                        </a:rPr>
                        <a:t>Viva Learning admin reporting (learn more about admin reporting </a:t>
                      </a:r>
                      <a:r>
                        <a:rPr lang="en-US" sz="1100" kern="1200">
                          <a:solidFill>
                            <a:schemeClr val="tx1"/>
                          </a:solidFill>
                          <a:latin typeface="+mn-lt"/>
                          <a:ea typeface="+mn-ea"/>
                          <a:cs typeface="+mn-cs"/>
                          <a:hlinkClick r:id="rId3"/>
                        </a:rPr>
                        <a:t>here</a:t>
                      </a:r>
                      <a:r>
                        <a:rPr lang="en-US" sz="1100" kern="1200">
                          <a:solidFill>
                            <a:schemeClr val="tx1"/>
                          </a:solidFill>
                          <a:latin typeface="+mn-lt"/>
                          <a:ea typeface="+mn-ea"/>
                          <a:cs typeface="+mn-cs"/>
                        </a:rPr>
                        <a:t>)</a:t>
                      </a:r>
                      <a:endParaRPr lang="en-US" sz="1100" i="1" kern="1200">
                        <a:solidFill>
                          <a:schemeClr val="tx1"/>
                        </a:solidFill>
                        <a:latin typeface="+mn-lt"/>
                        <a:ea typeface="+mn-ea"/>
                        <a:cs typeface="+mn-cs"/>
                      </a:endParaRPr>
                    </a:p>
                  </a:txBody>
                  <a:tcPr marL="137160"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solidFill>
                            <a:schemeClr val="tx1"/>
                          </a:solidFill>
                        </a:rPr>
                        <a:t>100 learning objects recommended in first two quarters (Viva Learning reporting)</a:t>
                      </a:r>
                    </a:p>
                    <a:p>
                      <a:endParaRPr lang="en-US" sz="1100">
                        <a:solidFill>
                          <a:schemeClr val="tx1"/>
                        </a:solidFill>
                      </a:endParaRPr>
                    </a:p>
                    <a:p>
                      <a:r>
                        <a:rPr lang="en-US" sz="1100">
                          <a:solidFill>
                            <a:schemeClr val="tx1"/>
                          </a:solidFill>
                        </a:rPr>
                        <a:t>20 learning tabs created in first two quarters (Viva Learning reporting)</a:t>
                      </a:r>
                    </a:p>
                    <a:p>
                      <a:endParaRPr lang="en-US" sz="1100">
                        <a:solidFill>
                          <a:schemeClr val="tx1"/>
                        </a:solidFill>
                      </a:endParaRPr>
                    </a:p>
                    <a:p>
                      <a:r>
                        <a:rPr lang="en-US" sz="1100">
                          <a:solidFill>
                            <a:schemeClr val="tx1"/>
                          </a:solidFill>
                        </a:rPr>
                        <a:t>2x increased avg time spent on learning per week</a:t>
                      </a:r>
                    </a:p>
                  </a:txBody>
                  <a:tcPr marL="137160"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9666319"/>
                  </a:ext>
                </a:extLst>
              </a:tr>
              <a:tr h="641152">
                <a:tc>
                  <a:txBody>
                    <a:bodyPr/>
                    <a:lstStyle/>
                    <a:p>
                      <a:pPr marL="0" algn="l" defTabSz="932742" rtl="0" eaLnBrk="1" latinLnBrk="0" hangingPunct="1"/>
                      <a:r>
                        <a:rPr lang="en-US" sz="1100" kern="1200">
                          <a:solidFill>
                            <a:schemeClr val="tx1"/>
                          </a:solidFill>
                          <a:latin typeface="+mj-lt"/>
                          <a:ea typeface="+mn-ea"/>
                          <a:cs typeface="+mn-cs"/>
                        </a:rPr>
                        <a:t>Increased assignment completion</a:t>
                      </a:r>
                    </a:p>
                    <a:p>
                      <a:r>
                        <a:rPr lang="en-US" sz="1100">
                          <a:solidFill>
                            <a:schemeClr val="tx1"/>
                          </a:solidFill>
                        </a:rPr>
                        <a:t>Streamline access to learning assignments to increase number of trainings employees complete</a:t>
                      </a: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US" sz="1100">
                          <a:solidFill>
                            <a:schemeClr val="tx1"/>
                          </a:solidFill>
                        </a:rPr>
                        <a:t>Qualitative surveys</a:t>
                      </a:r>
                    </a:p>
                  </a:txBody>
                  <a:tcPr marL="137160"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solidFill>
                            <a:schemeClr val="tx1"/>
                          </a:solidFill>
                        </a:rPr>
                        <a:t>2x increase in assignments completed ahead of deadlines compared to before rolling out Microsoft Viva Learning</a:t>
                      </a:r>
                    </a:p>
                  </a:txBody>
                  <a:tcPr marL="137160"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6211308"/>
                  </a:ext>
                </a:extLst>
              </a:tr>
              <a:tr h="641152">
                <a:tc>
                  <a:txBody>
                    <a:bodyPr/>
                    <a:lstStyle/>
                    <a:p>
                      <a:pPr marL="0" algn="l" defTabSz="932742" rtl="0" eaLnBrk="1" latinLnBrk="0" hangingPunct="1"/>
                      <a:r>
                        <a:rPr lang="en-US" sz="1100" kern="1200">
                          <a:solidFill>
                            <a:schemeClr val="tx1"/>
                          </a:solidFill>
                          <a:latin typeface="+mj-lt"/>
                          <a:ea typeface="+mn-ea"/>
                          <a:cs typeface="+mn-cs"/>
                        </a:rPr>
                        <a:t>Increased job competency</a:t>
                      </a:r>
                    </a:p>
                    <a:p>
                      <a:r>
                        <a:rPr lang="en-US" sz="1100">
                          <a:solidFill>
                            <a:schemeClr val="tx1"/>
                          </a:solidFill>
                        </a:rPr>
                        <a:t>Access to relevant content to develop new skills needed to improve performance</a:t>
                      </a: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US" sz="1100">
                          <a:solidFill>
                            <a:schemeClr val="tx1"/>
                          </a:solidFill>
                        </a:rPr>
                        <a:t>Qualitative surveys</a:t>
                      </a:r>
                    </a:p>
                  </a:txBody>
                  <a:tcPr marL="137160"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solidFill>
                            <a:schemeClr val="tx1"/>
                          </a:solidFill>
                        </a:rPr>
                        <a:t>All employees at competency for current role</a:t>
                      </a:r>
                    </a:p>
                  </a:txBody>
                  <a:tcPr marL="137160"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6050739"/>
                  </a:ext>
                </a:extLst>
              </a:tr>
              <a:tr h="641152">
                <a:tc>
                  <a:txBody>
                    <a:bodyPr/>
                    <a:lstStyle/>
                    <a:p>
                      <a:r>
                        <a:rPr lang="en-US" sz="1100" kern="1200">
                          <a:solidFill>
                            <a:schemeClr val="tx1"/>
                          </a:solidFill>
                          <a:latin typeface="+mj-lt"/>
                          <a:ea typeface="+mn-ea"/>
                          <a:cs typeface="+mn-cs"/>
                        </a:rPr>
                        <a:t>Busines outcomes</a:t>
                      </a:r>
                    </a:p>
                    <a:p>
                      <a:r>
                        <a:rPr lang="en-US" sz="1100" b="0">
                          <a:solidFill>
                            <a:schemeClr val="tx1"/>
                          </a:solidFill>
                        </a:rPr>
                        <a:t>Streamline employee development, onboarding, and upskilling to improve business results and employee retention</a:t>
                      </a:r>
                    </a:p>
                  </a:txBody>
                  <a:tcPr marT="91440" marB="91440">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US" sz="1100">
                          <a:solidFill>
                            <a:schemeClr val="tx1"/>
                          </a:solidFill>
                        </a:rPr>
                        <a:t>Internal business metrics (HR)</a:t>
                      </a:r>
                    </a:p>
                  </a:txBody>
                  <a:tcPr marL="137160" marT="91440" marB="91440">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a:solidFill>
                            <a:schemeClr val="tx1"/>
                          </a:solidFill>
                        </a:rPr>
                        <a:t>Lower cost of new hires</a:t>
                      </a:r>
                    </a:p>
                    <a:p>
                      <a:r>
                        <a:rPr lang="en-US" sz="1100">
                          <a:solidFill>
                            <a:schemeClr val="tx1"/>
                          </a:solidFill>
                        </a:rPr>
                        <a:t>Increased promotions</a:t>
                      </a:r>
                    </a:p>
                    <a:p>
                      <a:r>
                        <a:rPr lang="en-US" sz="1100">
                          <a:solidFill>
                            <a:schemeClr val="tx1"/>
                          </a:solidFill>
                        </a:rPr>
                        <a:t>Internal transfers</a:t>
                      </a:r>
                    </a:p>
                    <a:p>
                      <a:r>
                        <a:rPr lang="en-US" sz="1100">
                          <a:solidFill>
                            <a:schemeClr val="tx1"/>
                          </a:solidFill>
                        </a:rPr>
                        <a:t>Employee retention</a:t>
                      </a:r>
                    </a:p>
                  </a:txBody>
                  <a:tcPr marL="137160" marT="91440" marB="9144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6471453"/>
                  </a:ext>
                </a:extLst>
              </a:tr>
            </a:tbl>
          </a:graphicData>
        </a:graphic>
      </p:graphicFrame>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588263" y="457200"/>
            <a:ext cx="11018520" cy="553998"/>
          </a:xfrm>
        </p:spPr>
        <p:txBody>
          <a:bodyPr/>
          <a:lstStyle/>
          <a:p>
            <a:r>
              <a:rPr lang="en-US"/>
              <a:t>KPI examples</a:t>
            </a:r>
          </a:p>
        </p:txBody>
      </p:sp>
      <p:sp>
        <p:nvSpPr>
          <p:cNvPr id="7" name="TextBox 6">
            <a:extLst>
              <a:ext uri="{FF2B5EF4-FFF2-40B4-BE49-F238E27FC236}">
                <a16:creationId xmlns:a16="http://schemas.microsoft.com/office/drawing/2014/main" id="{8644A753-488A-4893-BF9C-BDE49319784C}"/>
              </a:ext>
            </a:extLst>
          </p:cNvPr>
          <p:cNvSpPr txBox="1"/>
          <p:nvPr/>
        </p:nvSpPr>
        <p:spPr>
          <a:xfrm>
            <a:off x="0" y="1127712"/>
            <a:ext cx="12192000" cy="768629"/>
          </a:xfrm>
          <a:prstGeom prst="rect">
            <a:avLst/>
          </a:prstGeom>
          <a:solidFill>
            <a:schemeClr val="bg1">
              <a:lumMod val="95000"/>
            </a:schemeClr>
          </a:solidFill>
        </p:spPr>
        <p:txBody>
          <a:bodyPr wrap="square" lIns="594360" rIns="594360" anchor="ctr">
            <a:noAutofit/>
          </a:bodyPr>
          <a:lstStyle/>
          <a:p>
            <a:r>
              <a:rPr lang="en-US" sz="2000">
                <a:latin typeface="+mj-lt"/>
              </a:rPr>
              <a:t>Choose criteria to demonstrate the impact of Microsoft Viva Learning against each success measure. Below are </a:t>
            </a:r>
            <a:r>
              <a:rPr lang="en-US" sz="2000" u="sng">
                <a:latin typeface="+mj-lt"/>
              </a:rPr>
              <a:t>examples</a:t>
            </a:r>
            <a:r>
              <a:rPr lang="en-US" sz="2000">
                <a:latin typeface="+mj-lt"/>
              </a:rPr>
              <a:t> of success measures, methods for measuring, and desired goals.</a:t>
            </a:r>
          </a:p>
        </p:txBody>
      </p:sp>
    </p:spTree>
    <p:extLst>
      <p:ext uri="{BB962C8B-B14F-4D97-AF65-F5344CB8AC3E}">
        <p14:creationId xmlns:p14="http://schemas.microsoft.com/office/powerpoint/2010/main" val="16729155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B1375F54-ACF3-492B-90B2-2EC7B7281E35}"/>
              </a:ext>
            </a:extLst>
          </p:cNvPr>
          <p:cNvSpPr/>
          <p:nvPr/>
        </p:nvSpPr>
        <p:spPr bwMode="auto">
          <a:xfrm rot="5400000">
            <a:off x="2530467" y="1276395"/>
            <a:ext cx="2349515" cy="74104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Single Corner Rounded 4">
            <a:extLst>
              <a:ext uri="{FF2B5EF4-FFF2-40B4-BE49-F238E27FC236}">
                <a16:creationId xmlns:a16="http://schemas.microsoft.com/office/drawing/2014/main" id="{87FED681-E743-4A4A-AE8E-A317F6EF35E3}"/>
              </a:ext>
            </a:extLst>
          </p:cNvPr>
          <p:cNvSpPr/>
          <p:nvPr/>
        </p:nvSpPr>
        <p:spPr bwMode="auto">
          <a:xfrm rot="10800000">
            <a:off x="7410450" y="-1"/>
            <a:ext cx="4781550" cy="6572250"/>
          </a:xfrm>
          <a:prstGeom prst="round1Rect">
            <a:avLst>
              <a:gd name="adj" fmla="val 3254"/>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588263" y="457200"/>
            <a:ext cx="11018520" cy="553998"/>
          </a:xfrm>
        </p:spPr>
        <p:txBody>
          <a:bodyPr/>
          <a:lstStyle/>
          <a:p>
            <a:r>
              <a:rPr lang="en-US"/>
              <a:t>Assemble core team</a:t>
            </a:r>
          </a:p>
        </p:txBody>
      </p:sp>
      <p:sp>
        <p:nvSpPr>
          <p:cNvPr id="12" name="TextBox 11" hidden="1">
            <a:extLst>
              <a:ext uri="{FF2B5EF4-FFF2-40B4-BE49-F238E27FC236}">
                <a16:creationId xmlns:a16="http://schemas.microsoft.com/office/drawing/2014/main" id="{D77F9333-7AF2-4F86-BE3F-29FDDC1E5350}"/>
              </a:ext>
            </a:extLst>
          </p:cNvPr>
          <p:cNvSpPr txBox="1"/>
          <p:nvPr/>
        </p:nvSpPr>
        <p:spPr>
          <a:xfrm>
            <a:off x="312036" y="3126397"/>
            <a:ext cx="6960407" cy="246221"/>
          </a:xfrm>
          <a:prstGeom prst="rect">
            <a:avLst/>
          </a:prstGeom>
          <a:noFill/>
        </p:spPr>
        <p:txBody>
          <a:bodyPr wrap="square" lIns="0" tIns="0" rIns="0" bIns="0">
            <a:spAutoFit/>
          </a:bodyPr>
          <a:lstStyle/>
          <a:p>
            <a:endParaRPr lang="en-US" sz="1600">
              <a:latin typeface="Segoe UI" panose="020B0502040204020203" pitchFamily="34" charset="0"/>
            </a:endParaRPr>
          </a:p>
        </p:txBody>
      </p:sp>
      <p:pic>
        <p:nvPicPr>
          <p:cNvPr id="30" name="Picture 29" descr="People talking">
            <a:extLst>
              <a:ext uri="{FF2B5EF4-FFF2-40B4-BE49-F238E27FC236}">
                <a16:creationId xmlns:a16="http://schemas.microsoft.com/office/drawing/2014/main" id="{D1DA3D7D-6317-4B43-BABD-FC801FBC25E0}"/>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7379" t="3957" r="29569" b="1074"/>
          <a:stretch/>
        </p:blipFill>
        <p:spPr>
          <a:xfrm>
            <a:off x="7590505" y="0"/>
            <a:ext cx="4601497" cy="6400800"/>
          </a:xfrm>
          <a:custGeom>
            <a:avLst/>
            <a:gdLst>
              <a:gd name="connsiteX0" fmla="*/ 0 w 4601497"/>
              <a:gd name="connsiteY0" fmla="*/ 0 h 6400800"/>
              <a:gd name="connsiteX1" fmla="*/ 4601497 w 4601497"/>
              <a:gd name="connsiteY1" fmla="*/ 0 h 6400800"/>
              <a:gd name="connsiteX2" fmla="*/ 4601497 w 4601497"/>
              <a:gd name="connsiteY2" fmla="*/ 6400800 h 6400800"/>
              <a:gd name="connsiteX3" fmla="*/ 0 w 4601497"/>
              <a:gd name="connsiteY3" fmla="*/ 6400800 h 6400800"/>
            </a:gdLst>
            <a:ahLst/>
            <a:cxnLst>
              <a:cxn ang="0">
                <a:pos x="connsiteX0" y="connsiteY0"/>
              </a:cxn>
              <a:cxn ang="0">
                <a:pos x="connsiteX1" y="connsiteY1"/>
              </a:cxn>
              <a:cxn ang="0">
                <a:pos x="connsiteX2" y="connsiteY2"/>
              </a:cxn>
              <a:cxn ang="0">
                <a:pos x="connsiteX3" y="connsiteY3"/>
              </a:cxn>
            </a:cxnLst>
            <a:rect l="l" t="t" r="r" b="b"/>
            <a:pathLst>
              <a:path w="4601497" h="6400800">
                <a:moveTo>
                  <a:pt x="0" y="0"/>
                </a:moveTo>
                <a:lnTo>
                  <a:pt x="4601497" y="0"/>
                </a:lnTo>
                <a:lnTo>
                  <a:pt x="4601497" y="6400800"/>
                </a:lnTo>
                <a:lnTo>
                  <a:pt x="0" y="6400800"/>
                </a:lnTo>
                <a:close/>
              </a:path>
            </a:pathLst>
          </a:custGeom>
        </p:spPr>
      </p:pic>
      <p:sp>
        <p:nvSpPr>
          <p:cNvPr id="31" name="Rectangle 30">
            <a:extLst>
              <a:ext uri="{FF2B5EF4-FFF2-40B4-BE49-F238E27FC236}">
                <a16:creationId xmlns:a16="http://schemas.microsoft.com/office/drawing/2014/main" id="{CAF132A2-DF92-4FCB-9FAA-C6408CAF83A5}"/>
              </a:ext>
            </a:extLst>
          </p:cNvPr>
          <p:cNvSpPr/>
          <p:nvPr/>
        </p:nvSpPr>
        <p:spPr>
          <a:xfrm>
            <a:off x="684878" y="3315940"/>
            <a:ext cx="1042529" cy="246221"/>
          </a:xfrm>
          <a:prstGeom prst="rect">
            <a:avLst/>
          </a:prstGeom>
        </p:spPr>
        <p:txBody>
          <a:bodyPr wrap="none" lIns="0" tIns="0" rIns="0" bIns="0">
            <a:spAutoFit/>
          </a:bodyPr>
          <a:lstStyle/>
          <a:p>
            <a:pPr marL="0" lvl="1" defTabSz="896181">
              <a:spcBef>
                <a:spcPts val="600"/>
              </a:spcBef>
              <a:spcAft>
                <a:spcPts val="600"/>
              </a:spcAft>
              <a:buSzPct val="90000"/>
            </a:pPr>
            <a:r>
              <a:rPr lang="en-US" sz="1600">
                <a:solidFill>
                  <a:schemeClr val="accent1"/>
                </a:solidFill>
                <a:latin typeface="+mj-lt"/>
                <a:cs typeface="Segoe UI" panose="020B0502040204020203" pitchFamily="34" charset="0"/>
              </a:rPr>
              <a:t>Key groups</a:t>
            </a:r>
          </a:p>
        </p:txBody>
      </p:sp>
      <p:sp>
        <p:nvSpPr>
          <p:cNvPr id="32" name="Rectangle 31">
            <a:extLst>
              <a:ext uri="{FF2B5EF4-FFF2-40B4-BE49-F238E27FC236}">
                <a16:creationId xmlns:a16="http://schemas.microsoft.com/office/drawing/2014/main" id="{1133F457-C9A7-4FBD-9B5C-412F2610FDEE}"/>
              </a:ext>
            </a:extLst>
          </p:cNvPr>
          <p:cNvSpPr/>
          <p:nvPr/>
        </p:nvSpPr>
        <p:spPr bwMode="auto">
          <a:xfrm>
            <a:off x="0" y="1123535"/>
            <a:ext cx="7410446" cy="172100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r>
              <a:rPr lang="en-US" sz="1600">
                <a:solidFill>
                  <a:schemeClr val="tx1"/>
                </a:solidFill>
                <a:latin typeface="+mj-lt"/>
              </a:rPr>
              <a:t>Adopting new technology requires buy-in and support from across the business. Below are key groups and team members who can help bridge technology and business outcomes that matter to your organization Each group or member has a specific role in implementation and should be engaged early and often.</a:t>
            </a:r>
          </a:p>
        </p:txBody>
      </p:sp>
      <p:sp>
        <p:nvSpPr>
          <p:cNvPr id="34" name="Rectangle 33">
            <a:extLst>
              <a:ext uri="{FF2B5EF4-FFF2-40B4-BE49-F238E27FC236}">
                <a16:creationId xmlns:a16="http://schemas.microsoft.com/office/drawing/2014/main" id="{57C39FCA-5456-4240-873A-9F942DEF95FE}"/>
              </a:ext>
            </a:extLst>
          </p:cNvPr>
          <p:cNvSpPr/>
          <p:nvPr/>
        </p:nvSpPr>
        <p:spPr>
          <a:xfrm>
            <a:off x="3595447" y="3306502"/>
            <a:ext cx="2874057" cy="246221"/>
          </a:xfrm>
          <a:prstGeom prst="rect">
            <a:avLst/>
          </a:prstGeom>
        </p:spPr>
        <p:txBody>
          <a:bodyPr wrap="square" lIns="0" tIns="0" rIns="0" bIns="0">
            <a:spAutoFit/>
          </a:bodyPr>
          <a:lstStyle/>
          <a:p>
            <a:pPr marL="0" lvl="1" defTabSz="896181">
              <a:spcBef>
                <a:spcPts val="600"/>
              </a:spcBef>
              <a:spcAft>
                <a:spcPts val="600"/>
              </a:spcAft>
              <a:buSzPct val="90000"/>
            </a:pPr>
            <a:r>
              <a:rPr lang="en-US" sz="1600">
                <a:solidFill>
                  <a:schemeClr val="accent1"/>
                </a:solidFill>
                <a:latin typeface="+mj-lt"/>
              </a:rPr>
              <a:t>Additional core team members</a:t>
            </a:r>
          </a:p>
        </p:txBody>
      </p:sp>
      <p:sp>
        <p:nvSpPr>
          <p:cNvPr id="35" name="Rectangle 34">
            <a:extLst>
              <a:ext uri="{FF2B5EF4-FFF2-40B4-BE49-F238E27FC236}">
                <a16:creationId xmlns:a16="http://schemas.microsoft.com/office/drawing/2014/main" id="{7FF00FA4-A308-4BEF-A680-E6AA5EB3440D}"/>
              </a:ext>
            </a:extLst>
          </p:cNvPr>
          <p:cNvSpPr/>
          <p:nvPr/>
        </p:nvSpPr>
        <p:spPr>
          <a:xfrm>
            <a:off x="684878" y="3838252"/>
            <a:ext cx="2013565" cy="1215717"/>
          </a:xfrm>
          <a:prstGeom prst="rect">
            <a:avLst/>
          </a:prstGeom>
        </p:spPr>
        <p:txBody>
          <a:bodyPr wrap="square" lIns="0" tIns="0" rIns="0" bIns="0">
            <a:noAutofit/>
          </a:bodyPr>
          <a:lstStyle/>
          <a:p>
            <a:pPr marL="285750" lvl="1" indent="-285750" defTabSz="896181">
              <a:spcAft>
                <a:spcPts val="600"/>
              </a:spcAft>
              <a:buClr>
                <a:schemeClr val="tx1"/>
              </a:buClr>
              <a:buSzPct val="100000"/>
              <a:buFont typeface="Verdana" panose="020B0604030504040204" pitchFamily="34" charset="0"/>
              <a:buChar char="-"/>
            </a:pPr>
            <a:r>
              <a:rPr lang="en-US" sz="1600"/>
              <a:t>Executive Sponsors</a:t>
            </a:r>
          </a:p>
          <a:p>
            <a:pPr marL="285750" lvl="1" indent="-285750" defTabSz="896181">
              <a:spcAft>
                <a:spcPts val="600"/>
              </a:spcAft>
              <a:buClr>
                <a:schemeClr val="tx1"/>
              </a:buClr>
              <a:buSzPct val="100000"/>
              <a:buFont typeface="Verdana" panose="020B0604030504040204" pitchFamily="34" charset="0"/>
              <a:buChar char="-"/>
            </a:pPr>
            <a:r>
              <a:rPr lang="en-US" sz="1600"/>
              <a:t>Success Owner </a:t>
            </a:r>
          </a:p>
          <a:p>
            <a:pPr marL="285750" lvl="1" indent="-285750" defTabSz="896181">
              <a:spcAft>
                <a:spcPts val="600"/>
              </a:spcAft>
              <a:buClr>
                <a:schemeClr val="tx1"/>
              </a:buClr>
              <a:buSzPct val="100000"/>
              <a:buFont typeface="Verdana" panose="020B0604030504040204" pitchFamily="34" charset="0"/>
              <a:buChar char="-"/>
            </a:pPr>
            <a:r>
              <a:rPr lang="en-US" sz="1600"/>
              <a:t>Early Adopters </a:t>
            </a:r>
          </a:p>
          <a:p>
            <a:pPr marL="285750" lvl="1" indent="-285750" defTabSz="896181">
              <a:spcAft>
                <a:spcPts val="600"/>
              </a:spcAft>
              <a:buClr>
                <a:schemeClr val="tx1"/>
              </a:buClr>
              <a:buSzPct val="100000"/>
              <a:buFont typeface="Verdana" panose="020B0604030504040204" pitchFamily="34" charset="0"/>
              <a:buChar char="-"/>
            </a:pPr>
            <a:r>
              <a:rPr lang="en-US" sz="1600"/>
              <a:t>Champions</a:t>
            </a:r>
          </a:p>
        </p:txBody>
      </p:sp>
      <p:sp>
        <p:nvSpPr>
          <p:cNvPr id="36" name="Rectangle 35">
            <a:extLst>
              <a:ext uri="{FF2B5EF4-FFF2-40B4-BE49-F238E27FC236}">
                <a16:creationId xmlns:a16="http://schemas.microsoft.com/office/drawing/2014/main" id="{F912FD21-5BF6-48E5-8BE7-025161D1E2EC}"/>
              </a:ext>
            </a:extLst>
          </p:cNvPr>
          <p:cNvSpPr/>
          <p:nvPr/>
        </p:nvSpPr>
        <p:spPr>
          <a:xfrm>
            <a:off x="3595447" y="3838252"/>
            <a:ext cx="3363492" cy="1538883"/>
          </a:xfrm>
          <a:prstGeom prst="rect">
            <a:avLst/>
          </a:prstGeom>
        </p:spPr>
        <p:txBody>
          <a:bodyPr wrap="square" lIns="0" tIns="0" rIns="0" bIns="0">
            <a:noAutofit/>
          </a:bodyPr>
          <a:lstStyle/>
          <a:p>
            <a:pPr marL="285750" lvl="1" indent="-285750" defTabSz="896181">
              <a:spcAft>
                <a:spcPts val="600"/>
              </a:spcAft>
              <a:buClr>
                <a:schemeClr val="tx1"/>
              </a:buClr>
              <a:buSzPct val="100000"/>
              <a:buFont typeface="Verdana" panose="020B0604030504040204" pitchFamily="34" charset="0"/>
              <a:buChar char="-"/>
            </a:pPr>
            <a:r>
              <a:rPr lang="en-US" sz="1600">
                <a:cs typeface="Segoe UI" panose="020B0502040204020203" pitchFamily="34" charset="0"/>
              </a:rPr>
              <a:t>Program Manager</a:t>
            </a:r>
          </a:p>
          <a:p>
            <a:pPr marL="285750" lvl="1" indent="-285750" defTabSz="896181">
              <a:spcAft>
                <a:spcPts val="600"/>
              </a:spcAft>
              <a:buClr>
                <a:schemeClr val="tx1"/>
              </a:buClr>
              <a:buSzPct val="100000"/>
              <a:buFont typeface="Verdana" panose="020B0604030504040204" pitchFamily="34" charset="0"/>
              <a:buChar char="-"/>
            </a:pPr>
            <a:r>
              <a:rPr lang="en-US" sz="1600">
                <a:cs typeface="Segoe UI" panose="020B0502040204020203" pitchFamily="34" charset="0"/>
              </a:rPr>
              <a:t>Employee Training Lead</a:t>
            </a:r>
          </a:p>
          <a:p>
            <a:pPr marL="285750" lvl="1" indent="-285750" defTabSz="896181">
              <a:spcAft>
                <a:spcPts val="600"/>
              </a:spcAft>
              <a:buClr>
                <a:schemeClr val="tx1"/>
              </a:buClr>
              <a:buSzPct val="100000"/>
              <a:buFont typeface="Verdana" panose="020B0604030504040204" pitchFamily="34" charset="0"/>
              <a:buChar char="-"/>
            </a:pPr>
            <a:r>
              <a:rPr lang="en-US" sz="1600">
                <a:cs typeface="Segoe UI" panose="020B0502040204020203" pitchFamily="34" charset="0"/>
              </a:rPr>
              <a:t>Department Leads (Stakeholders)</a:t>
            </a:r>
          </a:p>
          <a:p>
            <a:pPr marL="285750" lvl="1" indent="-285750" defTabSz="896181">
              <a:spcAft>
                <a:spcPts val="600"/>
              </a:spcAft>
              <a:buClr>
                <a:schemeClr val="tx1"/>
              </a:buClr>
              <a:buSzPct val="100000"/>
              <a:buFont typeface="Verdana" panose="020B0604030504040204" pitchFamily="34" charset="0"/>
              <a:buChar char="-"/>
            </a:pPr>
            <a:r>
              <a:rPr lang="en-US" sz="1600">
                <a:cs typeface="Segoe UI" panose="020B0502040204020203" pitchFamily="34" charset="0"/>
              </a:rPr>
              <a:t>IT Specialists</a:t>
            </a:r>
          </a:p>
          <a:p>
            <a:pPr marL="285750" lvl="1" indent="-285750" defTabSz="896181">
              <a:spcAft>
                <a:spcPts val="600"/>
              </a:spcAft>
              <a:buClr>
                <a:schemeClr val="tx1"/>
              </a:buClr>
              <a:buSzPct val="100000"/>
              <a:buFont typeface="Verdana" panose="020B0604030504040204" pitchFamily="34" charset="0"/>
              <a:buChar char="-"/>
            </a:pPr>
            <a:r>
              <a:rPr lang="en-US" sz="1600">
                <a:cs typeface="Segoe UI" panose="020B0502040204020203" pitchFamily="34" charset="0"/>
              </a:rPr>
              <a:t>Communications Lead</a:t>
            </a:r>
          </a:p>
        </p:txBody>
      </p:sp>
      <p:cxnSp>
        <p:nvCxnSpPr>
          <p:cNvPr id="7" name="Straight Connector 6">
            <a:extLst>
              <a:ext uri="{FF2B5EF4-FFF2-40B4-BE49-F238E27FC236}">
                <a16:creationId xmlns:a16="http://schemas.microsoft.com/office/drawing/2014/main" id="{803E3BD0-8ED8-4336-97AB-58D253BF0FBA}"/>
              </a:ext>
            </a:extLst>
          </p:cNvPr>
          <p:cNvCxnSpPr/>
          <p:nvPr/>
        </p:nvCxnSpPr>
        <p:spPr>
          <a:xfrm>
            <a:off x="0" y="3696859"/>
            <a:ext cx="7410450"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C0FC7A6-31A2-44C3-ADE2-0C38996E50EA}"/>
              </a:ext>
            </a:extLst>
          </p:cNvPr>
          <p:cNvCxnSpPr>
            <a:cxnSpLocks/>
          </p:cNvCxnSpPr>
          <p:nvPr/>
        </p:nvCxnSpPr>
        <p:spPr>
          <a:xfrm>
            <a:off x="3146945" y="3696859"/>
            <a:ext cx="0" cy="2582223"/>
          </a:xfrm>
          <a:prstGeom prst="line">
            <a:avLst/>
          </a:prstGeom>
          <a:ln w="6350" cap="rnd">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78773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Top Corners Rounded 18">
            <a:extLst>
              <a:ext uri="{FF2B5EF4-FFF2-40B4-BE49-F238E27FC236}">
                <a16:creationId xmlns:a16="http://schemas.microsoft.com/office/drawing/2014/main" id="{4A4E933F-4053-4747-8C7A-C33C78FC83DD}"/>
              </a:ext>
            </a:extLst>
          </p:cNvPr>
          <p:cNvSpPr/>
          <p:nvPr/>
        </p:nvSpPr>
        <p:spPr bwMode="auto">
          <a:xfrm>
            <a:off x="584200" y="1625600"/>
            <a:ext cx="2004621" cy="4818742"/>
          </a:xfrm>
          <a:prstGeom prst="round2SameRect">
            <a:avLst>
              <a:gd name="adj1" fmla="val 5867"/>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aphicFrame>
        <p:nvGraphicFramePr>
          <p:cNvPr id="6" name="Table 6">
            <a:extLst>
              <a:ext uri="{FF2B5EF4-FFF2-40B4-BE49-F238E27FC236}">
                <a16:creationId xmlns:a16="http://schemas.microsoft.com/office/drawing/2014/main" id="{EC1F4BAD-5CE0-4DBC-83CC-8EF16F9B21FC}"/>
              </a:ext>
            </a:extLst>
          </p:cNvPr>
          <p:cNvGraphicFramePr>
            <a:graphicFrameLocks noGrp="1"/>
          </p:cNvGraphicFramePr>
          <p:nvPr>
            <p:extLst>
              <p:ext uri="{D42A27DB-BD31-4B8C-83A1-F6EECF244321}">
                <p14:modId xmlns:p14="http://schemas.microsoft.com/office/powerpoint/2010/main" val="4042125665"/>
              </p:ext>
            </p:extLst>
          </p:nvPr>
        </p:nvGraphicFramePr>
        <p:xfrm>
          <a:off x="584200" y="1212604"/>
          <a:ext cx="7882357" cy="5085665"/>
        </p:xfrm>
        <a:graphic>
          <a:graphicData uri="http://schemas.openxmlformats.org/drawingml/2006/table">
            <a:tbl>
              <a:tblPr firstRow="1" bandRow="1"/>
              <a:tblGrid>
                <a:gridCol w="2100943">
                  <a:extLst>
                    <a:ext uri="{9D8B030D-6E8A-4147-A177-3AD203B41FA5}">
                      <a16:colId xmlns:a16="http://schemas.microsoft.com/office/drawing/2014/main" val="156661515"/>
                    </a:ext>
                  </a:extLst>
                </a:gridCol>
                <a:gridCol w="5781414">
                  <a:extLst>
                    <a:ext uri="{9D8B030D-6E8A-4147-A177-3AD203B41FA5}">
                      <a16:colId xmlns:a16="http://schemas.microsoft.com/office/drawing/2014/main" val="2277018512"/>
                    </a:ext>
                  </a:extLst>
                </a:gridCol>
              </a:tblGrid>
              <a:tr h="415628">
                <a:tc>
                  <a:txBody>
                    <a:bodyPr/>
                    <a:lstStyle/>
                    <a:p>
                      <a:pPr algn="ctr"/>
                      <a:r>
                        <a:rPr lang="en-US" sz="1600">
                          <a:solidFill>
                            <a:schemeClr val="accent1"/>
                          </a:solidFill>
                          <a:latin typeface="+mj-lt"/>
                        </a:rPr>
                        <a:t>Role</a:t>
                      </a: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algn="ctr"/>
                      <a:r>
                        <a:rPr lang="en-US" sz="1600">
                          <a:solidFill>
                            <a:schemeClr val="accent1"/>
                          </a:solidFill>
                          <a:latin typeface="+mj-lt"/>
                        </a:rPr>
                        <a:t>Responsibilities</a:t>
                      </a:r>
                    </a:p>
                  </a:txBody>
                  <a:tcPr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2137563280"/>
                  </a:ext>
                </a:extLst>
              </a:tr>
              <a:tr h="518893">
                <a:tc>
                  <a:txBody>
                    <a:bodyPr/>
                    <a:lstStyle/>
                    <a:p>
                      <a:pPr marL="0" lvl="1" indent="0" defTabSz="896181">
                        <a:spcBef>
                          <a:spcPts val="600"/>
                        </a:spcBef>
                        <a:spcAft>
                          <a:spcPts val="600"/>
                        </a:spcAft>
                        <a:buSzPct val="90000"/>
                        <a:buFont typeface="Verdana" panose="020B0604030504040204" pitchFamily="34" charset="0"/>
                        <a:buNone/>
                      </a:pPr>
                      <a:r>
                        <a:rPr lang="en-US" sz="1200">
                          <a:solidFill>
                            <a:schemeClr val="tx1"/>
                          </a:solidFill>
                          <a:latin typeface="+mj-lt"/>
                        </a:rPr>
                        <a:t>Executive Sponsor</a:t>
                      </a:r>
                    </a:p>
                  </a:txBody>
                  <a:tcPr anchor="ctr">
                    <a:lnL w="12700" cmpd="sng">
                      <a:noFill/>
                      <a:prstDash val="solid"/>
                    </a:lnL>
                    <a:lnR w="12700" cmpd="sng">
                      <a:noFill/>
                      <a:prstDash val="solid"/>
                    </a:lnR>
                    <a:lnT w="12700" cmpd="sng">
                      <a:noFill/>
                      <a:prstDash val="soli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Communicate high-level vision and values of Microsoft Viva Learning</a:t>
                      </a:r>
                      <a:br>
                        <a:rPr lang="en-US" sz="1200">
                          <a:solidFill>
                            <a:schemeClr val="tx1"/>
                          </a:solidFill>
                        </a:rPr>
                      </a:br>
                      <a:r>
                        <a:rPr lang="en-US" sz="1200">
                          <a:solidFill>
                            <a:schemeClr val="tx1"/>
                          </a:solidFill>
                        </a:rPr>
                        <a:t>company-wide</a:t>
                      </a:r>
                    </a:p>
                  </a:txBody>
                  <a:tcPr anchor="ctr">
                    <a:lnL w="12700" cmpd="sng">
                      <a:noFill/>
                      <a:prstDash val="solid"/>
                    </a:lnL>
                    <a:lnR w="12700" cmpd="sng">
                      <a:noFill/>
                      <a:prstDash val="solid"/>
                    </a:lnR>
                    <a:lnT w="12700" cmpd="sng">
                      <a:noFill/>
                      <a:prstDash val="soli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1582618"/>
                  </a:ext>
                </a:extLst>
              </a:tr>
              <a:tr h="51889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j-lt"/>
                        </a:rPr>
                        <a:t>Success Owner </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Ensure the business goals are realized from adoption of Microsoft Viva Learning </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82738779"/>
                  </a:ext>
                </a:extLst>
              </a:tr>
              <a:tr h="51889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j-lt"/>
                        </a:rPr>
                        <a:t>Program Manager</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rPr>
                        <a:t>Oversee Microsoft Viva Learning deployment process and logistics</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59044003"/>
                  </a:ext>
                </a:extLst>
              </a:tr>
              <a:tr h="51889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j-lt"/>
                        </a:rPr>
                        <a:t>Early Adopters</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Use Microsoft Viva Learning early on and provide feedback to help smooth out any issues ahead of broad launch to entire organization</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12889145"/>
                  </a:ext>
                </a:extLst>
              </a:tr>
              <a:tr h="51889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j-lt"/>
                        </a:rPr>
                        <a:t>Champions</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Help evangelize Microsoft Viva Learning and manage objection handling</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35009324"/>
                  </a:ext>
                </a:extLst>
              </a:tr>
              <a:tr h="518893">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mj-lt"/>
                        </a:rPr>
                        <a:t>Employee Training Lead</a:t>
                      </a:r>
                      <a:endParaRPr lang="en-US" sz="1200">
                        <a:solidFill>
                          <a:schemeClr val="tx1"/>
                        </a:solidFill>
                        <a:latin typeface="+mj-lt"/>
                        <a:cs typeface="Segoe UI" panose="020B0502040204020203" pitchFamily="34" charset="0"/>
                      </a:endParaRP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Manage and communicate training content about Microsoft Viva Learning </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62450486"/>
                  </a:ext>
                </a:extLst>
              </a:tr>
              <a:tr h="518893">
                <a:tc>
                  <a:txBody>
                    <a:bodyPr/>
                    <a:lstStyle/>
                    <a:p>
                      <a:r>
                        <a:rPr lang="en-US" sz="1200">
                          <a:solidFill>
                            <a:schemeClr val="tx1"/>
                          </a:solidFill>
                          <a:latin typeface="+mj-lt"/>
                        </a:rPr>
                        <a:t>Department Leads (Stakeholders)</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Identify how department will use Microsoft Viva Learning and encourage engagement</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60762472"/>
                  </a:ext>
                </a:extLst>
              </a:tr>
              <a:tr h="518893">
                <a:tc>
                  <a:txBody>
                    <a:bodyPr/>
                    <a:lstStyle/>
                    <a:p>
                      <a:r>
                        <a:rPr lang="en-US" sz="1200">
                          <a:solidFill>
                            <a:schemeClr val="tx1"/>
                          </a:solidFill>
                          <a:latin typeface="+mj-lt"/>
                        </a:rPr>
                        <a:t>IT Specialists</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noFill/>
                  </a:tcPr>
                </a:tc>
                <a:tc>
                  <a:txBody>
                    <a:bodyPr/>
                    <a:lstStyle/>
                    <a:p>
                      <a:r>
                        <a:rPr lang="en-US" sz="1200">
                          <a:solidFill>
                            <a:schemeClr val="tx1"/>
                          </a:solidFill>
                        </a:rPr>
                        <a:t>Oversee all technical aspects of the Microsoft Viva Learning deployment and rollout</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6350" cap="flat" cmpd="sng" algn="ctr">
                      <a:solidFill>
                        <a:schemeClr val="bg1">
                          <a:lumMod val="7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6254428"/>
                  </a:ext>
                </a:extLst>
              </a:tr>
              <a:tr h="518893">
                <a:tc>
                  <a:txBody>
                    <a:bodyPr/>
                    <a:lstStyle/>
                    <a:p>
                      <a:pPr marL="0" lvl="1" indent="0" defTabSz="896181">
                        <a:spcBef>
                          <a:spcPts val="600"/>
                        </a:spcBef>
                        <a:spcAft>
                          <a:spcPts val="600"/>
                        </a:spcAft>
                        <a:buSzPct val="90000"/>
                        <a:buFont typeface="Verdana" panose="020B0604030504040204" pitchFamily="34" charset="0"/>
                        <a:buNone/>
                      </a:pPr>
                      <a:r>
                        <a:rPr lang="en-US" sz="1200">
                          <a:latin typeface="+mj-lt"/>
                        </a:rPr>
                        <a:t>Communications Lead</a:t>
                      </a:r>
                      <a:endParaRPr lang="en-US" sz="1200">
                        <a:latin typeface="+mj-lt"/>
                        <a:cs typeface="Segoe UI" panose="020B0502040204020203" pitchFamily="34" charset="0"/>
                      </a:endParaRP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p>
                      <a:r>
                        <a:rPr lang="en-US" sz="1200"/>
                        <a:t>Oversee company-wide communications about Microsoft Viva Learning</a:t>
                      </a:r>
                    </a:p>
                  </a:txBody>
                  <a:tcPr anchor="ctr">
                    <a:lnL w="12700" cmpd="sng">
                      <a:noFill/>
                      <a:prstDash val="solid"/>
                    </a:lnL>
                    <a:lnR w="12700" cmpd="sng">
                      <a:noFill/>
                      <a:prstDash val="solid"/>
                    </a:lnR>
                    <a:lnT w="6350" cap="flat" cmpd="sng" algn="ctr">
                      <a:solidFill>
                        <a:schemeClr val="bg1">
                          <a:lumMod val="75000"/>
                        </a:schemeClr>
                      </a:solidFill>
                      <a:prstDash val="dash"/>
                      <a:round/>
                      <a:headEnd type="none" w="med" len="med"/>
                      <a:tailEnd type="none" w="med" len="med"/>
                    </a:lnT>
                    <a:lnB w="12700" cmpd="sng">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661481362"/>
                  </a:ext>
                </a:extLst>
              </a:tr>
            </a:tbl>
          </a:graphicData>
        </a:graphic>
      </p:graphicFrame>
      <p:sp>
        <p:nvSpPr>
          <p:cNvPr id="4" name="Title 3">
            <a:extLst>
              <a:ext uri="{FF2B5EF4-FFF2-40B4-BE49-F238E27FC236}">
                <a16:creationId xmlns:a16="http://schemas.microsoft.com/office/drawing/2014/main" id="{84374224-BD84-489D-A726-D2C55A672C1B}"/>
              </a:ext>
            </a:extLst>
          </p:cNvPr>
          <p:cNvSpPr>
            <a:spLocks noGrp="1"/>
          </p:cNvSpPr>
          <p:nvPr>
            <p:ph type="title"/>
          </p:nvPr>
        </p:nvSpPr>
        <p:spPr>
          <a:xfrm>
            <a:off x="588263" y="457200"/>
            <a:ext cx="11018520" cy="553998"/>
          </a:xfrm>
        </p:spPr>
        <p:txBody>
          <a:bodyPr/>
          <a:lstStyle/>
          <a:p>
            <a:r>
              <a:rPr lang="en-US"/>
              <a:t>Assign core team R&amp;R</a:t>
            </a:r>
          </a:p>
        </p:txBody>
      </p:sp>
      <p:sp>
        <p:nvSpPr>
          <p:cNvPr id="10" name="Arrow: Bent 9">
            <a:extLst>
              <a:ext uri="{FF2B5EF4-FFF2-40B4-BE49-F238E27FC236}">
                <a16:creationId xmlns:a16="http://schemas.microsoft.com/office/drawing/2014/main" id="{3572F4C0-8C03-47B5-9D77-63771509539D}"/>
              </a:ext>
            </a:extLst>
          </p:cNvPr>
          <p:cNvSpPr/>
          <p:nvPr/>
        </p:nvSpPr>
        <p:spPr bwMode="auto">
          <a:xfrm>
            <a:off x="2660071" y="1625600"/>
            <a:ext cx="5895435" cy="4122057"/>
          </a:xfrm>
          <a:prstGeom prst="bentArrow">
            <a:avLst>
              <a:gd name="adj1" fmla="val 25000"/>
              <a:gd name="adj2" fmla="val 0"/>
              <a:gd name="adj3" fmla="val 25000"/>
              <a:gd name="adj4" fmla="val 43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4" name="Straight Connector 13">
            <a:extLst>
              <a:ext uri="{FF2B5EF4-FFF2-40B4-BE49-F238E27FC236}">
                <a16:creationId xmlns:a16="http://schemas.microsoft.com/office/drawing/2014/main" id="{372583F2-D55C-423D-BBEB-78263CDA4DA7}"/>
              </a:ext>
            </a:extLst>
          </p:cNvPr>
          <p:cNvCxnSpPr>
            <a:cxnSpLocks/>
          </p:cNvCxnSpPr>
          <p:nvPr/>
        </p:nvCxnSpPr>
        <p:spPr>
          <a:xfrm>
            <a:off x="4870563" y="1625600"/>
            <a:ext cx="1454037"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6EF5649-6F45-41CB-BD9A-9435D0DF49CD}"/>
              </a:ext>
            </a:extLst>
          </p:cNvPr>
          <p:cNvCxnSpPr>
            <a:cxnSpLocks/>
          </p:cNvCxnSpPr>
          <p:nvPr/>
        </p:nvCxnSpPr>
        <p:spPr>
          <a:xfrm>
            <a:off x="1242001" y="1625600"/>
            <a:ext cx="624727"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 name="Picture Placeholder 5" descr="People working on computers">
            <a:extLst>
              <a:ext uri="{FF2B5EF4-FFF2-40B4-BE49-F238E27FC236}">
                <a16:creationId xmlns:a16="http://schemas.microsoft.com/office/drawing/2014/main" id="{B1DCCC9D-4266-4F80-B9F8-E64FA9D81F54}"/>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8525571" y="0"/>
            <a:ext cx="3666429" cy="6858000"/>
          </a:xfrm>
          <a:prstGeom prst="rect">
            <a:avLst/>
          </a:prstGeom>
        </p:spPr>
      </p:pic>
      <p:sp>
        <p:nvSpPr>
          <p:cNvPr id="13" name="Arrow: Bent 12">
            <a:extLst>
              <a:ext uri="{FF2B5EF4-FFF2-40B4-BE49-F238E27FC236}">
                <a16:creationId xmlns:a16="http://schemas.microsoft.com/office/drawing/2014/main" id="{61741673-1F69-451C-9FD0-C89D8B893F15}"/>
              </a:ext>
            </a:extLst>
          </p:cNvPr>
          <p:cNvSpPr/>
          <p:nvPr/>
        </p:nvSpPr>
        <p:spPr bwMode="auto">
          <a:xfrm rot="10800000">
            <a:off x="-2" y="2119084"/>
            <a:ext cx="2660074" cy="4325258"/>
          </a:xfrm>
          <a:prstGeom prst="bentArrow">
            <a:avLst>
              <a:gd name="adj1" fmla="val 25000"/>
              <a:gd name="adj2" fmla="val 0"/>
              <a:gd name="adj3" fmla="val 25000"/>
              <a:gd name="adj4" fmla="val 431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2250313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Arrow: Bent 31">
            <a:extLst>
              <a:ext uri="{FF2B5EF4-FFF2-40B4-BE49-F238E27FC236}">
                <a16:creationId xmlns:a16="http://schemas.microsoft.com/office/drawing/2014/main" id="{DAB0DD70-B0F4-458C-B57B-3E9899929497}"/>
              </a:ext>
            </a:extLst>
          </p:cNvPr>
          <p:cNvSpPr/>
          <p:nvPr/>
        </p:nvSpPr>
        <p:spPr bwMode="auto">
          <a:xfrm rot="16200000" flipH="1">
            <a:off x="7605873" y="1122523"/>
            <a:ext cx="3229748" cy="5942507"/>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77FA1AA2-F51F-4F51-8422-C8D2E5940227}"/>
              </a:ext>
            </a:extLst>
          </p:cNvPr>
          <p:cNvCxnSpPr>
            <a:cxnSpLocks/>
          </p:cNvCxnSpPr>
          <p:nvPr/>
        </p:nvCxnSpPr>
        <p:spPr>
          <a:xfrm>
            <a:off x="8528597" y="2478902"/>
            <a:ext cx="1384300"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DAE81A7-3CB6-4555-93B5-DF2A11851798}"/>
              </a:ext>
            </a:extLst>
          </p:cNvPr>
          <p:cNvSpPr>
            <a:spLocks noGrp="1"/>
          </p:cNvSpPr>
          <p:nvPr>
            <p:ph type="title"/>
          </p:nvPr>
        </p:nvSpPr>
        <p:spPr>
          <a:xfrm>
            <a:off x="588263" y="457200"/>
            <a:ext cx="11018520" cy="553998"/>
          </a:xfrm>
        </p:spPr>
        <p:txBody>
          <a:bodyPr/>
          <a:lstStyle/>
          <a:p>
            <a:r>
              <a:rPr lang="en-US"/>
              <a:t>Understand common adoption concerns</a:t>
            </a:r>
          </a:p>
        </p:txBody>
      </p:sp>
      <p:sp>
        <p:nvSpPr>
          <p:cNvPr id="7" name="Arrow: Bent 6">
            <a:extLst>
              <a:ext uri="{FF2B5EF4-FFF2-40B4-BE49-F238E27FC236}">
                <a16:creationId xmlns:a16="http://schemas.microsoft.com/office/drawing/2014/main" id="{B585A041-01AF-453F-8B7E-1E2A62D0A471}"/>
              </a:ext>
            </a:extLst>
          </p:cNvPr>
          <p:cNvSpPr/>
          <p:nvPr/>
        </p:nvSpPr>
        <p:spPr bwMode="auto">
          <a:xfrm rot="5400000">
            <a:off x="1356379" y="1122523"/>
            <a:ext cx="3229748" cy="5942507"/>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9" name="Arrow: U-Turn 8">
            <a:extLst>
              <a:ext uri="{FF2B5EF4-FFF2-40B4-BE49-F238E27FC236}">
                <a16:creationId xmlns:a16="http://schemas.microsoft.com/office/drawing/2014/main" id="{F7ED3AEF-1448-40E3-BA28-9A84748852A0}"/>
              </a:ext>
            </a:extLst>
          </p:cNvPr>
          <p:cNvSpPr/>
          <p:nvPr/>
        </p:nvSpPr>
        <p:spPr bwMode="auto">
          <a:xfrm rot="10800000">
            <a:off x="5942178" y="5461000"/>
            <a:ext cx="307314" cy="723900"/>
          </a:xfrm>
          <a:prstGeom prst="uturnArrow">
            <a:avLst>
              <a:gd name="adj1" fmla="val 25000"/>
              <a:gd name="adj2" fmla="val 0"/>
              <a:gd name="adj3" fmla="val 25000"/>
              <a:gd name="adj4" fmla="val 50000"/>
              <a:gd name="adj5" fmla="val 75000"/>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4" name="Title 3">
            <a:extLst>
              <a:ext uri="{FF2B5EF4-FFF2-40B4-BE49-F238E27FC236}">
                <a16:creationId xmlns:a16="http://schemas.microsoft.com/office/drawing/2014/main" id="{302E38C7-D19C-4C60-A08F-30C08FCA6602}"/>
              </a:ext>
            </a:extLst>
          </p:cNvPr>
          <p:cNvSpPr txBox="1">
            <a:spLocks/>
          </p:cNvSpPr>
          <p:nvPr/>
        </p:nvSpPr>
        <p:spPr>
          <a:xfrm>
            <a:off x="604925" y="2675847"/>
            <a:ext cx="5389243" cy="3462486"/>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R="0" lvl="0" indent="0" defTabSz="932563" fontAlgn="auto">
              <a:lnSpc>
                <a:spcPct val="100000"/>
              </a:lnSpc>
              <a:spcBef>
                <a:spcPct val="0"/>
              </a:spcBef>
              <a:spcAft>
                <a:spcPts val="600"/>
              </a:spcAft>
              <a:buClr>
                <a:prstClr val="white"/>
              </a:buClr>
              <a:buSzTx/>
              <a:buFontTx/>
              <a:buNone/>
              <a:tabLst/>
              <a:defRPr/>
            </a:pPr>
            <a:r>
              <a:rPr lang="en-US" sz="1800" spc="0">
                <a:solidFill>
                  <a:schemeClr val="accent1"/>
                </a:solidFill>
                <a:cs typeface="Segoe UI Semibold" panose="020B0702040204020203" pitchFamily="34" charset="0"/>
              </a:rPr>
              <a:t>Resolution</a:t>
            </a:r>
          </a:p>
          <a:p>
            <a:pPr>
              <a:lnSpc>
                <a:spcPct val="100000"/>
              </a:lnSpc>
              <a:spcAft>
                <a:spcPts val="600"/>
              </a:spcAft>
            </a:pPr>
            <a:r>
              <a:rPr lang="en-US" sz="1600" spc="0">
                <a:solidFill>
                  <a:schemeClr val="tx1"/>
                </a:solidFill>
                <a:latin typeface="+mn-lt"/>
                <a:ea typeface="Segoe UI" panose="020B0502040204020203" pitchFamily="34" charset="0"/>
                <a:cs typeface="Times New Roman" panose="02020603050405020304" pitchFamily="18" charset="0"/>
              </a:rPr>
              <a:t>With state-of-the-art encryption, Microsoft protects your data both at rest and in transit. Our encryption protocols erect barriers against unauthorized access to the data, including two or more independent encryption layers to protect against compromises of any one layer.</a:t>
            </a:r>
          </a:p>
          <a:p>
            <a:pPr>
              <a:lnSpc>
                <a:spcPct val="100000"/>
              </a:lnSpc>
              <a:spcAft>
                <a:spcPts val="600"/>
              </a:spcAft>
            </a:pPr>
            <a:r>
              <a:rPr lang="en-US" sz="1600" spc="0">
                <a:solidFill>
                  <a:schemeClr val="tx1"/>
                </a:solidFill>
                <a:latin typeface="+mn-lt"/>
                <a:ea typeface="Segoe UI" panose="020B0502040204020203" pitchFamily="34" charset="0"/>
                <a:cs typeface="Times New Roman" panose="02020603050405020304" pitchFamily="18" charset="0"/>
              </a:rPr>
              <a:t>Your data is your business, and you can access, modify, or delete it at any time. Microsoft will not use your data without your agreement, and when we have your agreement, we use your data to provide only the services you have chosen.</a:t>
            </a:r>
          </a:p>
          <a:p>
            <a:pPr>
              <a:lnSpc>
                <a:spcPct val="100000"/>
              </a:lnSpc>
              <a:spcAft>
                <a:spcPts val="600"/>
              </a:spcAft>
            </a:pPr>
            <a:r>
              <a:rPr lang="en-US" sz="1600" spc="0">
                <a:solidFill>
                  <a:schemeClr val="tx1"/>
                </a:solidFill>
                <a:latin typeface="+mn-lt"/>
                <a:ea typeface="Segoe UI" panose="020B0502040204020203" pitchFamily="34" charset="0"/>
                <a:cs typeface="Times New Roman" panose="02020603050405020304" pitchFamily="18" charset="0"/>
              </a:rPr>
              <a:t>Please refer to the Microsoft Trust Center (</a:t>
            </a:r>
            <a:r>
              <a:rPr lang="en-US" sz="1600" spc="0">
                <a:solidFill>
                  <a:schemeClr val="accent1"/>
                </a:solidFill>
                <a:latin typeface="+mn-lt"/>
                <a:ea typeface="Segoe UI" panose="020B0502040204020203"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ERE</a:t>
            </a:r>
            <a:r>
              <a:rPr lang="en-US" sz="1600" spc="0">
                <a:solidFill>
                  <a:schemeClr val="tx1"/>
                </a:solidFill>
                <a:latin typeface="+mn-lt"/>
                <a:ea typeface="Segoe UI" panose="020B0502040204020203" pitchFamily="34" charset="0"/>
                <a:cs typeface="Times New Roman" panose="02020603050405020304" pitchFamily="18" charset="0"/>
              </a:rPr>
              <a:t>) for additional information.</a:t>
            </a:r>
          </a:p>
        </p:txBody>
      </p:sp>
      <p:sp>
        <p:nvSpPr>
          <p:cNvPr id="35" name="Title 3">
            <a:extLst>
              <a:ext uri="{FF2B5EF4-FFF2-40B4-BE49-F238E27FC236}">
                <a16:creationId xmlns:a16="http://schemas.microsoft.com/office/drawing/2014/main" id="{D8B72EB8-F06C-4BD9-B481-10295D3E5ECB}"/>
              </a:ext>
            </a:extLst>
          </p:cNvPr>
          <p:cNvSpPr txBox="1">
            <a:spLocks/>
          </p:cNvSpPr>
          <p:nvPr/>
        </p:nvSpPr>
        <p:spPr>
          <a:xfrm>
            <a:off x="6489700" y="2675847"/>
            <a:ext cx="5133745" cy="3684085"/>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R="0" lvl="0" indent="0" defTabSz="932563" fontAlgn="auto">
              <a:lnSpc>
                <a:spcPct val="100000"/>
              </a:lnSpc>
              <a:spcBef>
                <a:spcPct val="0"/>
              </a:spcBef>
              <a:spcAft>
                <a:spcPts val="600"/>
              </a:spcAft>
              <a:buClr>
                <a:prstClr val="white"/>
              </a:buClr>
              <a:buSzTx/>
              <a:buFontTx/>
              <a:buNone/>
              <a:tabLst/>
              <a:defRPr/>
            </a:pPr>
            <a:r>
              <a:rPr lang="en-US" sz="1800" spc="0">
                <a:solidFill>
                  <a:schemeClr val="accent1"/>
                </a:solidFill>
                <a:cs typeface="Segoe UI Semibold" panose="020B0702040204020203" pitchFamily="34" charset="0"/>
              </a:rPr>
              <a:t>Resolution</a:t>
            </a:r>
          </a:p>
          <a:p>
            <a:pPr fontAlgn="ctr"/>
            <a:r>
              <a:rPr lang="en-US" sz="1600" spc="0">
                <a:solidFill>
                  <a:schemeClr val="tx1"/>
                </a:solidFill>
                <a:latin typeface="+mn-lt"/>
                <a:ea typeface="Segoe UI" panose="020B0502040204020203" pitchFamily="34" charset="0"/>
                <a:cs typeface="Times New Roman" panose="02020603050405020304" pitchFamily="18" charset="0"/>
              </a:rPr>
              <a:t>Viva Learning data residency is tenant specific and follows the standard Microsoft 365 data storage guidelines by available geography. For more information, see the </a:t>
            </a:r>
            <a:r>
              <a:rPr lang="en-US" sz="1600" spc="0">
                <a:solidFill>
                  <a:schemeClr val="accent1"/>
                </a:solidFill>
                <a:latin typeface="+mn-lt"/>
                <a:ea typeface="Segoe UI" panose="020B0502040204020203"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Where is my Microsoft 365 customer data stored docs page</a:t>
            </a:r>
            <a:r>
              <a:rPr lang="en-US" sz="1600" spc="0">
                <a:solidFill>
                  <a:schemeClr val="tx1"/>
                </a:solidFill>
                <a:latin typeface="+mn-lt"/>
                <a:ea typeface="Segoe UI" panose="020B0502040204020203" pitchFamily="34" charset="0"/>
                <a:cs typeface="Times New Roman" panose="02020603050405020304" pitchFamily="18" charset="0"/>
              </a:rPr>
              <a:t>.</a:t>
            </a:r>
          </a:p>
          <a:p>
            <a:pPr fontAlgn="ctr"/>
            <a:endParaRPr lang="en-US" sz="1600" spc="0">
              <a:solidFill>
                <a:schemeClr val="tx1"/>
              </a:solidFill>
              <a:latin typeface="+mn-lt"/>
              <a:ea typeface="Segoe UI" panose="020B0502040204020203" pitchFamily="34" charset="0"/>
              <a:cs typeface="Times New Roman" panose="02020603050405020304" pitchFamily="18" charset="0"/>
            </a:endParaRPr>
          </a:p>
          <a:p>
            <a:pPr fontAlgn="ctr"/>
            <a:r>
              <a:rPr lang="en-US" sz="1600" spc="0">
                <a:solidFill>
                  <a:schemeClr val="tx1"/>
                </a:solidFill>
                <a:latin typeface="+mn-lt"/>
                <a:ea typeface="Segoe UI" panose="020B0502040204020203" pitchFamily="34" charset="0"/>
                <a:cs typeface="Times New Roman" panose="02020603050405020304" pitchFamily="18" charset="0"/>
              </a:rPr>
              <a:t>For SharePoint, we currently only support sites hosted from the home geography of the tenant. Example: A French provisioned tenant can only link to SharePoint sites hosted in France to Viva Learning. </a:t>
            </a:r>
          </a:p>
          <a:p>
            <a:pPr fontAlgn="ctr"/>
            <a:endParaRPr lang="en-US" sz="1600" spc="0">
              <a:solidFill>
                <a:schemeClr val="tx1"/>
              </a:solidFill>
              <a:latin typeface="+mn-lt"/>
              <a:ea typeface="Segoe UI" panose="020B0502040204020203" pitchFamily="34" charset="0"/>
              <a:cs typeface="Times New Roman" panose="02020603050405020304" pitchFamily="18" charset="0"/>
            </a:endParaRPr>
          </a:p>
          <a:p>
            <a:pPr fontAlgn="ctr"/>
            <a:r>
              <a:rPr lang="en-US" sz="1600" spc="0">
                <a:solidFill>
                  <a:schemeClr val="tx1"/>
                </a:solidFill>
                <a:latin typeface="+mn-lt"/>
                <a:ea typeface="Segoe UI" panose="020B0502040204020203" pitchFamily="34" charset="0"/>
                <a:cs typeface="Times New Roman" panose="02020603050405020304" pitchFamily="18" charset="0"/>
              </a:rPr>
              <a:t>Viva Learning is </a:t>
            </a:r>
            <a:r>
              <a:rPr lang="en-US" sz="1600" spc="0" err="1">
                <a:solidFill>
                  <a:schemeClr val="tx1"/>
                </a:solidFill>
                <a:latin typeface="+mn-lt"/>
                <a:ea typeface="Segoe UI" panose="020B0502040204020203" pitchFamily="34" charset="0"/>
                <a:cs typeface="Times New Roman" panose="02020603050405020304" pitchFamily="18" charset="0"/>
              </a:rPr>
              <a:t>GoLocal</a:t>
            </a:r>
            <a:r>
              <a:rPr lang="en-US" sz="1600" spc="0">
                <a:solidFill>
                  <a:schemeClr val="tx1"/>
                </a:solidFill>
                <a:latin typeface="+mn-lt"/>
                <a:ea typeface="Segoe UI" panose="020B0502040204020203" pitchFamily="34" charset="0"/>
                <a:cs typeface="Times New Roman" panose="02020603050405020304" pitchFamily="18" charset="0"/>
              </a:rPr>
              <a:t> compliant. For customers located within geographies covered by a </a:t>
            </a:r>
            <a:r>
              <a:rPr lang="en-US" sz="1600" spc="0" err="1">
                <a:solidFill>
                  <a:schemeClr val="tx1"/>
                </a:solidFill>
                <a:latin typeface="+mn-lt"/>
                <a:ea typeface="Segoe UI" panose="020B0502040204020203" pitchFamily="34" charset="0"/>
                <a:cs typeface="Times New Roman" panose="02020603050405020304" pitchFamily="18" charset="0"/>
              </a:rPr>
              <a:t>GoLocal</a:t>
            </a:r>
            <a:r>
              <a:rPr lang="en-US" sz="1600" spc="0">
                <a:solidFill>
                  <a:schemeClr val="tx1"/>
                </a:solidFill>
                <a:latin typeface="+mn-lt"/>
                <a:ea typeface="Segoe UI" panose="020B0502040204020203" pitchFamily="34" charset="0"/>
                <a:cs typeface="Times New Roman" panose="02020603050405020304" pitchFamily="18" charset="0"/>
              </a:rPr>
              <a:t> datacenter, Viva Learning data will be stored within that </a:t>
            </a:r>
            <a:r>
              <a:rPr lang="en-US" sz="1600" spc="0" err="1">
                <a:solidFill>
                  <a:schemeClr val="tx1"/>
                </a:solidFill>
                <a:latin typeface="+mn-lt"/>
                <a:ea typeface="Segoe UI" panose="020B0502040204020203" pitchFamily="34" charset="0"/>
                <a:cs typeface="Times New Roman" panose="02020603050405020304" pitchFamily="18" charset="0"/>
              </a:rPr>
              <a:t>GoLocal</a:t>
            </a:r>
            <a:r>
              <a:rPr lang="en-US" sz="1600" spc="0">
                <a:solidFill>
                  <a:schemeClr val="tx1"/>
                </a:solidFill>
                <a:latin typeface="+mn-lt"/>
                <a:ea typeface="Segoe UI" panose="020B0502040204020203" pitchFamily="34" charset="0"/>
                <a:cs typeface="Times New Roman" panose="02020603050405020304" pitchFamily="18" charset="0"/>
              </a:rPr>
              <a:t> by default. </a:t>
            </a:r>
          </a:p>
        </p:txBody>
      </p:sp>
      <p:cxnSp>
        <p:nvCxnSpPr>
          <p:cNvPr id="36" name="Straight Connector 35">
            <a:extLst>
              <a:ext uri="{FF2B5EF4-FFF2-40B4-BE49-F238E27FC236}">
                <a16:creationId xmlns:a16="http://schemas.microsoft.com/office/drawing/2014/main" id="{C2176691-4CB3-4FC7-808A-3429DED6E245}"/>
              </a:ext>
            </a:extLst>
          </p:cNvPr>
          <p:cNvCxnSpPr>
            <a:cxnSpLocks/>
          </p:cNvCxnSpPr>
          <p:nvPr/>
        </p:nvCxnSpPr>
        <p:spPr>
          <a:xfrm>
            <a:off x="2279103" y="2478902"/>
            <a:ext cx="1384300"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2F2FD49-6487-48F8-BB0B-4A1CB87E27F1}"/>
              </a:ext>
            </a:extLst>
          </p:cNvPr>
          <p:cNvSpPr/>
          <p:nvPr/>
        </p:nvSpPr>
        <p:spPr bwMode="auto">
          <a:xfrm>
            <a:off x="0" y="1282700"/>
            <a:ext cx="12192000" cy="10800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TextBox 14">
            <a:extLst>
              <a:ext uri="{FF2B5EF4-FFF2-40B4-BE49-F238E27FC236}">
                <a16:creationId xmlns:a16="http://schemas.microsoft.com/office/drawing/2014/main" id="{76C07DF4-C5E4-497C-9631-D923F758D4D8}"/>
              </a:ext>
            </a:extLst>
          </p:cNvPr>
          <p:cNvSpPr txBox="1"/>
          <p:nvPr/>
        </p:nvSpPr>
        <p:spPr>
          <a:xfrm>
            <a:off x="588263" y="1412360"/>
            <a:ext cx="5304537" cy="820738"/>
          </a:xfrm>
          <a:prstGeom prst="rect">
            <a:avLst/>
          </a:prstGeom>
          <a:noFill/>
        </p:spPr>
        <p:txBody>
          <a:bodyPr wrap="square" lIns="0" tIns="0" rIns="0" bIns="0" rtlCol="0">
            <a:spAutoFit/>
          </a:bodyPr>
          <a:lstStyle/>
          <a:p>
            <a:pPr defTabSz="932563">
              <a:spcAft>
                <a:spcPts val="400"/>
              </a:spcAft>
              <a:buClr>
                <a:prstClr val="white"/>
              </a:buClr>
            </a:pPr>
            <a:r>
              <a:rPr lang="en-US">
                <a:ln w="3175">
                  <a:noFill/>
                </a:ln>
                <a:solidFill>
                  <a:schemeClr val="accent1"/>
                </a:solidFill>
                <a:latin typeface="+mj-lt"/>
                <a:cs typeface="Segoe UI Semibold" panose="020B0702040204020203" pitchFamily="34" charset="0"/>
              </a:rPr>
              <a:t>Concern</a:t>
            </a:r>
          </a:p>
          <a:p>
            <a:pPr defTabSz="932384">
              <a:spcBef>
                <a:spcPct val="0"/>
              </a:spcBef>
              <a:defRPr/>
            </a:pPr>
            <a:r>
              <a:rPr lang="en-US" sz="1600">
                <a:effectLst/>
                <a:ea typeface="Segoe UI" panose="020B0502040204020203" pitchFamily="34" charset="0"/>
                <a:cs typeface="Times New Roman" panose="02020603050405020304" pitchFamily="18" charset="0"/>
              </a:rPr>
              <a:t>How does Microsoft protect the privacy and security of Viva Learning users?</a:t>
            </a:r>
            <a:endParaRPr lang="en-US" sz="1400">
              <a:ln w="3175">
                <a:noFill/>
              </a:ln>
              <a:cs typeface="Segoe UI" pitchFamily="34" charset="0"/>
            </a:endParaRPr>
          </a:p>
        </p:txBody>
      </p:sp>
      <p:sp>
        <p:nvSpPr>
          <p:cNvPr id="25" name="TextBox 24">
            <a:extLst>
              <a:ext uri="{FF2B5EF4-FFF2-40B4-BE49-F238E27FC236}">
                <a16:creationId xmlns:a16="http://schemas.microsoft.com/office/drawing/2014/main" id="{33D9C429-87E5-490C-B96E-DF0F34DE3C03}"/>
              </a:ext>
            </a:extLst>
          </p:cNvPr>
          <p:cNvSpPr txBox="1"/>
          <p:nvPr/>
        </p:nvSpPr>
        <p:spPr>
          <a:xfrm>
            <a:off x="6452012" y="1535471"/>
            <a:ext cx="5171434" cy="574516"/>
          </a:xfrm>
          <a:prstGeom prst="rect">
            <a:avLst/>
          </a:prstGeom>
          <a:noFill/>
        </p:spPr>
        <p:txBody>
          <a:bodyPr wrap="square" lIns="0" tIns="0" rIns="0" bIns="0" rtlCol="0">
            <a:spAutoFit/>
          </a:bodyPr>
          <a:lstStyle/>
          <a:p>
            <a:pPr defTabSz="932563">
              <a:spcAft>
                <a:spcPts val="400"/>
              </a:spcAft>
              <a:buClr>
                <a:prstClr val="white"/>
              </a:buClr>
            </a:pPr>
            <a:r>
              <a:rPr lang="en-US">
                <a:ln w="3175">
                  <a:noFill/>
                </a:ln>
                <a:solidFill>
                  <a:schemeClr val="accent1"/>
                </a:solidFill>
                <a:latin typeface="+mj-lt"/>
                <a:cs typeface="Segoe UI Semibold" panose="020B0702040204020203" pitchFamily="34" charset="0"/>
              </a:rPr>
              <a:t>Concern</a:t>
            </a:r>
          </a:p>
          <a:p>
            <a:pPr defTabSz="932384">
              <a:spcBef>
                <a:spcPct val="0"/>
              </a:spcBef>
              <a:defRPr/>
            </a:pPr>
            <a:r>
              <a:rPr lang="en-US" sz="1600">
                <a:effectLst/>
                <a:ea typeface="Segoe UI" panose="020B0502040204020203" pitchFamily="34" charset="0"/>
                <a:cs typeface="Times New Roman" panose="02020603050405020304" pitchFamily="18" charset="0"/>
              </a:rPr>
              <a:t>How does data residency work for Viva Learning?</a:t>
            </a:r>
            <a:endParaRPr lang="en-US" sz="1400">
              <a:ln w="3175">
                <a:noFill/>
              </a:ln>
              <a:cs typeface="Segoe UI" pitchFamily="34" charset="0"/>
            </a:endParaRPr>
          </a:p>
        </p:txBody>
      </p:sp>
      <p:cxnSp>
        <p:nvCxnSpPr>
          <p:cNvPr id="40" name="Straight Connector 39">
            <a:extLst>
              <a:ext uri="{FF2B5EF4-FFF2-40B4-BE49-F238E27FC236}">
                <a16:creationId xmlns:a16="http://schemas.microsoft.com/office/drawing/2014/main" id="{AEB7A5FA-C241-4421-82B0-470AA13E7A7E}"/>
              </a:ext>
            </a:extLst>
          </p:cNvPr>
          <p:cNvCxnSpPr>
            <a:cxnSpLocks/>
          </p:cNvCxnSpPr>
          <p:nvPr/>
        </p:nvCxnSpPr>
        <p:spPr>
          <a:xfrm>
            <a:off x="6095999" y="1422400"/>
            <a:ext cx="0" cy="84455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2C5D3EAB-9CDB-4F3B-B6EF-DB7B503FD15F}"/>
              </a:ext>
            </a:extLst>
          </p:cNvPr>
          <p:cNvSpPr/>
          <p:nvPr/>
        </p:nvSpPr>
        <p:spPr bwMode="auto">
          <a:xfrm rot="5400000">
            <a:off x="2781300" y="2291489"/>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err="1">
              <a:solidFill>
                <a:schemeClr val="accent1"/>
              </a:solidFill>
              <a:ea typeface="Segoe UI" pitchFamily="34" charset="0"/>
              <a:cs typeface="Segoe UI" pitchFamily="34" charset="0"/>
            </a:endParaRPr>
          </a:p>
        </p:txBody>
      </p:sp>
      <p:sp>
        <p:nvSpPr>
          <p:cNvPr id="44" name="Oval 43">
            <a:extLst>
              <a:ext uri="{FF2B5EF4-FFF2-40B4-BE49-F238E27FC236}">
                <a16:creationId xmlns:a16="http://schemas.microsoft.com/office/drawing/2014/main" id="{A1A56B53-27CD-4D1B-8B2A-B7EE651D0B1E}"/>
              </a:ext>
            </a:extLst>
          </p:cNvPr>
          <p:cNvSpPr/>
          <p:nvPr/>
        </p:nvSpPr>
        <p:spPr bwMode="auto">
          <a:xfrm rot="5400000">
            <a:off x="9030794" y="2291489"/>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err="1">
              <a:solidFill>
                <a:schemeClr val="accent1"/>
              </a:solidFill>
              <a:ea typeface="Segoe UI" pitchFamily="34" charset="0"/>
              <a:cs typeface="Segoe UI" pitchFamily="34" charset="0"/>
            </a:endParaRPr>
          </a:p>
        </p:txBody>
      </p:sp>
    </p:spTree>
    <p:extLst>
      <p:ext uri="{BB962C8B-B14F-4D97-AF65-F5344CB8AC3E}">
        <p14:creationId xmlns:p14="http://schemas.microsoft.com/office/powerpoint/2010/main" val="4629980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400"/>
                                        <p:tgtEl>
                                          <p:spTgt spid="34"/>
                                        </p:tgtEl>
                                      </p:cBhvr>
                                    </p:animEffect>
                                  </p:childTnLst>
                                </p:cTn>
                              </p:par>
                              <p:par>
                                <p:cTn id="8" presetID="42" presetClass="path" presetSubtype="0" accel="50000" decel="50000" fill="hold" grpId="1" nodeType="withEffect">
                                  <p:stCondLst>
                                    <p:cond delay="0"/>
                                  </p:stCondLst>
                                  <p:childTnLst>
                                    <p:animMotion origin="layout" path="M -2.91667E-6 -0.09074 L -2.91667E-6 -0.00254 " pathEditMode="relative" rAng="0" ptsTypes="AA">
                                      <p:cBhvr>
                                        <p:cTn id="9" dur="400" fill="hold"/>
                                        <p:tgtEl>
                                          <p:spTgt spid="34"/>
                                        </p:tgtEl>
                                        <p:attrNameLst>
                                          <p:attrName>ppt_x</p:attrName>
                                          <p:attrName>ppt_y</p:attrName>
                                        </p:attrNameLst>
                                      </p:cBhvr>
                                      <p:rCtr x="0" y="4398"/>
                                    </p:animMotion>
                                  </p:childTnLst>
                                </p:cTn>
                              </p:par>
                              <p:par>
                                <p:cTn id="10" presetID="10" presetClass="entr" presetSubtype="0"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400"/>
                                        <p:tgtEl>
                                          <p:spTgt spid="35"/>
                                        </p:tgtEl>
                                      </p:cBhvr>
                                    </p:animEffect>
                                  </p:childTnLst>
                                </p:cTn>
                              </p:par>
                              <p:par>
                                <p:cTn id="13" presetID="42" presetClass="path" presetSubtype="0" accel="50000" decel="50000" fill="hold" grpId="1" nodeType="withEffect">
                                  <p:stCondLst>
                                    <p:cond delay="0"/>
                                  </p:stCondLst>
                                  <p:childTnLst>
                                    <p:animMotion origin="layout" path="M 1.45833E-6 -0.09074 L 1.45833E-6 -0.00255 " pathEditMode="relative" rAng="0" ptsTypes="AA">
                                      <p:cBhvr>
                                        <p:cTn id="14" dur="400" fill="hold"/>
                                        <p:tgtEl>
                                          <p:spTgt spid="35"/>
                                        </p:tgtEl>
                                        <p:attrNameLst>
                                          <p:attrName>ppt_x</p:attrName>
                                          <p:attrName>ppt_y</p:attrName>
                                        </p:attrNameLst>
                                      </p:cBhvr>
                                      <p:rCtr x="0" y="439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P spid="35" grpId="0"/>
      <p:bldP spid="35"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E81A7-3CB6-4555-93B5-DF2A11851798}"/>
              </a:ext>
            </a:extLst>
          </p:cNvPr>
          <p:cNvSpPr>
            <a:spLocks noGrp="1"/>
          </p:cNvSpPr>
          <p:nvPr>
            <p:ph type="title"/>
          </p:nvPr>
        </p:nvSpPr>
        <p:spPr/>
        <p:txBody>
          <a:bodyPr/>
          <a:lstStyle/>
          <a:p>
            <a:r>
              <a:rPr lang="en-US"/>
              <a:t>Understand common adoption concerns</a:t>
            </a:r>
          </a:p>
        </p:txBody>
      </p:sp>
      <p:sp>
        <p:nvSpPr>
          <p:cNvPr id="20" name="Arrow: Bent 19">
            <a:extLst>
              <a:ext uri="{FF2B5EF4-FFF2-40B4-BE49-F238E27FC236}">
                <a16:creationId xmlns:a16="http://schemas.microsoft.com/office/drawing/2014/main" id="{10E1CCE5-BC32-4D68-9934-ED57A249EF1A}"/>
              </a:ext>
            </a:extLst>
          </p:cNvPr>
          <p:cNvSpPr/>
          <p:nvPr/>
        </p:nvSpPr>
        <p:spPr bwMode="auto">
          <a:xfrm rot="16200000" flipH="1">
            <a:off x="7605873" y="1122523"/>
            <a:ext cx="3229748" cy="5942507"/>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3AAE21D6-71B8-4AEE-B0E6-1D0B1AB340C0}"/>
              </a:ext>
            </a:extLst>
          </p:cNvPr>
          <p:cNvCxnSpPr>
            <a:cxnSpLocks/>
          </p:cNvCxnSpPr>
          <p:nvPr/>
        </p:nvCxnSpPr>
        <p:spPr>
          <a:xfrm>
            <a:off x="8528597" y="2478902"/>
            <a:ext cx="1384300"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Arrow: Bent 21">
            <a:extLst>
              <a:ext uri="{FF2B5EF4-FFF2-40B4-BE49-F238E27FC236}">
                <a16:creationId xmlns:a16="http://schemas.microsoft.com/office/drawing/2014/main" id="{FA04DF85-2EAD-4D93-81C4-DEF2CFD4C3FA}"/>
              </a:ext>
            </a:extLst>
          </p:cNvPr>
          <p:cNvSpPr/>
          <p:nvPr/>
        </p:nvSpPr>
        <p:spPr bwMode="auto">
          <a:xfrm rot="5400000">
            <a:off x="1356379" y="1122523"/>
            <a:ext cx="3229748" cy="5942507"/>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3" name="Arrow: U-Turn 22">
            <a:extLst>
              <a:ext uri="{FF2B5EF4-FFF2-40B4-BE49-F238E27FC236}">
                <a16:creationId xmlns:a16="http://schemas.microsoft.com/office/drawing/2014/main" id="{AA3EB444-4A8C-4540-8FC0-8C80DFB9284C}"/>
              </a:ext>
            </a:extLst>
          </p:cNvPr>
          <p:cNvSpPr/>
          <p:nvPr/>
        </p:nvSpPr>
        <p:spPr bwMode="auto">
          <a:xfrm rot="10800000">
            <a:off x="5942178" y="5461000"/>
            <a:ext cx="307314" cy="723900"/>
          </a:xfrm>
          <a:prstGeom prst="uturnArrow">
            <a:avLst>
              <a:gd name="adj1" fmla="val 25000"/>
              <a:gd name="adj2" fmla="val 0"/>
              <a:gd name="adj3" fmla="val 25000"/>
              <a:gd name="adj4" fmla="val 50000"/>
              <a:gd name="adj5" fmla="val 75000"/>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Title 3">
            <a:extLst>
              <a:ext uri="{FF2B5EF4-FFF2-40B4-BE49-F238E27FC236}">
                <a16:creationId xmlns:a16="http://schemas.microsoft.com/office/drawing/2014/main" id="{8AFCB849-CB1F-44E5-8652-B943FEA9CDA6}"/>
              </a:ext>
            </a:extLst>
          </p:cNvPr>
          <p:cNvSpPr txBox="1">
            <a:spLocks/>
          </p:cNvSpPr>
          <p:nvPr/>
        </p:nvSpPr>
        <p:spPr>
          <a:xfrm>
            <a:off x="604925" y="2675847"/>
            <a:ext cx="5389243" cy="1831271"/>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R="0" lvl="0" indent="0" defTabSz="932563" fontAlgn="auto">
              <a:lnSpc>
                <a:spcPct val="100000"/>
              </a:lnSpc>
              <a:spcBef>
                <a:spcPct val="0"/>
              </a:spcBef>
              <a:spcAft>
                <a:spcPts val="600"/>
              </a:spcAft>
              <a:buClr>
                <a:prstClr val="white"/>
              </a:buClr>
              <a:buSzTx/>
              <a:buFontTx/>
              <a:buNone/>
              <a:tabLst/>
              <a:defRPr/>
            </a:pPr>
            <a:r>
              <a:rPr lang="en-US" sz="1800" spc="0">
                <a:solidFill>
                  <a:schemeClr val="accent1"/>
                </a:solidFill>
                <a:cs typeface="Segoe UI Semibold" panose="020B0702040204020203" pitchFamily="34" charset="0"/>
              </a:rPr>
              <a:t>Resolution</a:t>
            </a:r>
          </a:p>
          <a:p>
            <a:pPr>
              <a:lnSpc>
                <a:spcPct val="100000"/>
              </a:lnSpc>
              <a:spcAft>
                <a:spcPts val="600"/>
              </a:spcAft>
            </a:pPr>
            <a:r>
              <a:rPr lang="en-US" sz="1600" spc="0">
                <a:solidFill>
                  <a:schemeClr val="tx1"/>
                </a:solidFill>
                <a:latin typeface="+mn-lt"/>
                <a:ea typeface="Segoe UI" panose="020B0502040204020203" pitchFamily="34" charset="0"/>
                <a:cs typeface="Times New Roman" panose="02020603050405020304" pitchFamily="18" charset="0"/>
              </a:rPr>
              <a:t>Implementation time varies by customer. From our experience with customers, implementation time can vary around 20 hours depending on complexity of the existing learning environment and how many learning sources/systems the customer is connecting to Viva Learning.</a:t>
            </a:r>
          </a:p>
        </p:txBody>
      </p:sp>
      <p:sp>
        <p:nvSpPr>
          <p:cNvPr id="27" name="Title 3">
            <a:extLst>
              <a:ext uri="{FF2B5EF4-FFF2-40B4-BE49-F238E27FC236}">
                <a16:creationId xmlns:a16="http://schemas.microsoft.com/office/drawing/2014/main" id="{429654BF-2AC8-4B3A-8EDD-9AC516D2D62A}"/>
              </a:ext>
            </a:extLst>
          </p:cNvPr>
          <p:cNvSpPr txBox="1">
            <a:spLocks/>
          </p:cNvSpPr>
          <p:nvPr/>
        </p:nvSpPr>
        <p:spPr>
          <a:xfrm>
            <a:off x="6489700" y="2675847"/>
            <a:ext cx="5133745" cy="2077492"/>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R="0" lvl="0" indent="0" defTabSz="932563" fontAlgn="auto">
              <a:lnSpc>
                <a:spcPct val="100000"/>
              </a:lnSpc>
              <a:spcBef>
                <a:spcPct val="0"/>
              </a:spcBef>
              <a:spcAft>
                <a:spcPts val="600"/>
              </a:spcAft>
              <a:buClr>
                <a:prstClr val="white"/>
              </a:buClr>
              <a:buSzTx/>
              <a:buFontTx/>
              <a:buNone/>
              <a:tabLst/>
              <a:defRPr/>
            </a:pPr>
            <a:r>
              <a:rPr lang="en-US" sz="1800" spc="0">
                <a:solidFill>
                  <a:schemeClr val="accent1"/>
                </a:solidFill>
                <a:cs typeface="Segoe UI Semibold" panose="020B0702040204020203" pitchFamily="34" charset="0"/>
              </a:rPr>
              <a:t>Resolution</a:t>
            </a:r>
          </a:p>
          <a:p>
            <a:pPr>
              <a:lnSpc>
                <a:spcPct val="100000"/>
              </a:lnSpc>
              <a:spcAft>
                <a:spcPts val="600"/>
              </a:spcAft>
            </a:pPr>
            <a:r>
              <a:rPr lang="en-US" sz="1600" spc="0">
                <a:latin typeface="+mn-lt"/>
              </a:rPr>
              <a:t>The Viva Learning UI will be localized according to the users’ preferred language settings in Microsoft 365. Viva Learning supports all the same languages Teams supports. The learning content itself will not be translated, but search results and recommendations will show items from the users preferred language first, followed by the content in English.</a:t>
            </a:r>
          </a:p>
        </p:txBody>
      </p:sp>
      <p:cxnSp>
        <p:nvCxnSpPr>
          <p:cNvPr id="30" name="Straight Connector 29">
            <a:extLst>
              <a:ext uri="{FF2B5EF4-FFF2-40B4-BE49-F238E27FC236}">
                <a16:creationId xmlns:a16="http://schemas.microsoft.com/office/drawing/2014/main" id="{2708292D-1F8E-476F-B814-8D1658E3DD4F}"/>
              </a:ext>
            </a:extLst>
          </p:cNvPr>
          <p:cNvCxnSpPr>
            <a:cxnSpLocks/>
          </p:cNvCxnSpPr>
          <p:nvPr/>
        </p:nvCxnSpPr>
        <p:spPr>
          <a:xfrm>
            <a:off x="2279103" y="2478902"/>
            <a:ext cx="1384300"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18227CCA-0801-4278-A637-2F20A5056C7D}"/>
              </a:ext>
            </a:extLst>
          </p:cNvPr>
          <p:cNvSpPr/>
          <p:nvPr/>
        </p:nvSpPr>
        <p:spPr bwMode="auto">
          <a:xfrm>
            <a:off x="0" y="1282700"/>
            <a:ext cx="12192000" cy="10800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DA389691-8D1D-4669-B9C7-CB684269C1E6}"/>
              </a:ext>
            </a:extLst>
          </p:cNvPr>
          <p:cNvSpPr/>
          <p:nvPr/>
        </p:nvSpPr>
        <p:spPr bwMode="auto">
          <a:xfrm rot="5400000">
            <a:off x="2781300" y="2291489"/>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err="1">
              <a:solidFill>
                <a:schemeClr val="accent1"/>
              </a:solidFill>
              <a:ea typeface="Segoe UI" pitchFamily="34" charset="0"/>
              <a:cs typeface="Segoe UI" pitchFamily="34" charset="0"/>
            </a:endParaRPr>
          </a:p>
        </p:txBody>
      </p:sp>
      <p:sp>
        <p:nvSpPr>
          <p:cNvPr id="33" name="Oval 32">
            <a:extLst>
              <a:ext uri="{FF2B5EF4-FFF2-40B4-BE49-F238E27FC236}">
                <a16:creationId xmlns:a16="http://schemas.microsoft.com/office/drawing/2014/main" id="{B8F0BD25-C07A-4CAB-A545-AEE92E4E1FD2}"/>
              </a:ext>
            </a:extLst>
          </p:cNvPr>
          <p:cNvSpPr/>
          <p:nvPr/>
        </p:nvSpPr>
        <p:spPr bwMode="auto">
          <a:xfrm rot="5400000">
            <a:off x="9030794" y="2291489"/>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a:solidFill>
                <a:schemeClr val="accent1"/>
              </a:solidFill>
              <a:ea typeface="Segoe UI" pitchFamily="34" charset="0"/>
              <a:cs typeface="Segoe UI" pitchFamily="34" charset="0"/>
            </a:endParaRPr>
          </a:p>
        </p:txBody>
      </p:sp>
      <p:sp>
        <p:nvSpPr>
          <p:cNvPr id="34" name="TextBox 33">
            <a:extLst>
              <a:ext uri="{FF2B5EF4-FFF2-40B4-BE49-F238E27FC236}">
                <a16:creationId xmlns:a16="http://schemas.microsoft.com/office/drawing/2014/main" id="{5A3D8CEB-810B-4A11-93E1-DBA1C844237E}"/>
              </a:ext>
            </a:extLst>
          </p:cNvPr>
          <p:cNvSpPr txBox="1"/>
          <p:nvPr/>
        </p:nvSpPr>
        <p:spPr>
          <a:xfrm>
            <a:off x="588263" y="1535471"/>
            <a:ext cx="5304537" cy="574516"/>
          </a:xfrm>
          <a:prstGeom prst="rect">
            <a:avLst/>
          </a:prstGeom>
          <a:noFill/>
        </p:spPr>
        <p:txBody>
          <a:bodyPr wrap="square" lIns="0" tIns="0" rIns="0" bIns="0" rtlCol="0">
            <a:spAutoFit/>
          </a:bodyPr>
          <a:lstStyle/>
          <a:p>
            <a:pPr defTabSz="932563">
              <a:spcAft>
                <a:spcPts val="400"/>
              </a:spcAft>
              <a:buClr>
                <a:prstClr val="white"/>
              </a:buClr>
            </a:pPr>
            <a:r>
              <a:rPr lang="en-US">
                <a:ln w="3175">
                  <a:noFill/>
                </a:ln>
                <a:solidFill>
                  <a:schemeClr val="accent1"/>
                </a:solidFill>
                <a:latin typeface="+mj-lt"/>
                <a:cs typeface="Segoe UI Semibold" panose="020B0702040204020203" pitchFamily="34" charset="0"/>
              </a:rPr>
              <a:t>Concern</a:t>
            </a:r>
          </a:p>
          <a:p>
            <a:pPr defTabSz="932384">
              <a:spcBef>
                <a:spcPct val="0"/>
              </a:spcBef>
              <a:defRPr/>
            </a:pPr>
            <a:r>
              <a:rPr lang="en-US" sz="1600">
                <a:effectLst/>
                <a:ea typeface="Segoe UI" panose="020B0502040204020203" pitchFamily="34" charset="0"/>
                <a:cs typeface="Times New Roman" panose="02020603050405020304" pitchFamily="18" charset="0"/>
              </a:rPr>
              <a:t>What is the implementation time for Viva Learning?</a:t>
            </a:r>
          </a:p>
        </p:txBody>
      </p:sp>
      <p:sp>
        <p:nvSpPr>
          <p:cNvPr id="35" name="TextBox 34">
            <a:extLst>
              <a:ext uri="{FF2B5EF4-FFF2-40B4-BE49-F238E27FC236}">
                <a16:creationId xmlns:a16="http://schemas.microsoft.com/office/drawing/2014/main" id="{99877D4B-3D0E-4BB3-ADEE-A1025FEB6C6B}"/>
              </a:ext>
            </a:extLst>
          </p:cNvPr>
          <p:cNvSpPr txBox="1"/>
          <p:nvPr/>
        </p:nvSpPr>
        <p:spPr>
          <a:xfrm>
            <a:off x="6452012" y="1535471"/>
            <a:ext cx="5171434" cy="574516"/>
          </a:xfrm>
          <a:prstGeom prst="rect">
            <a:avLst/>
          </a:prstGeom>
          <a:noFill/>
        </p:spPr>
        <p:txBody>
          <a:bodyPr wrap="square" lIns="0" tIns="0" rIns="0" bIns="0" rtlCol="0">
            <a:spAutoFit/>
          </a:bodyPr>
          <a:lstStyle/>
          <a:p>
            <a:pPr defTabSz="932563">
              <a:spcAft>
                <a:spcPts val="400"/>
              </a:spcAft>
              <a:buClr>
                <a:prstClr val="white"/>
              </a:buClr>
            </a:pPr>
            <a:r>
              <a:rPr lang="en-US">
                <a:ln w="3175">
                  <a:noFill/>
                </a:ln>
                <a:solidFill>
                  <a:schemeClr val="accent1"/>
                </a:solidFill>
                <a:latin typeface="+mj-lt"/>
                <a:cs typeface="Segoe UI Semibold" panose="020B0702040204020203" pitchFamily="34" charset="0"/>
              </a:rPr>
              <a:t>Concern</a:t>
            </a:r>
          </a:p>
          <a:p>
            <a:pPr defTabSz="932384">
              <a:spcBef>
                <a:spcPct val="0"/>
              </a:spcBef>
              <a:defRPr/>
            </a:pPr>
            <a:r>
              <a:rPr lang="en-US" sz="1600">
                <a:effectLst/>
                <a:ea typeface="Segoe UI" panose="020B0502040204020203" pitchFamily="34" charset="0"/>
                <a:cs typeface="Times New Roman" panose="02020603050405020304" pitchFamily="18" charset="0"/>
              </a:rPr>
              <a:t>How does Viva Learning handle multilanguage needs?</a:t>
            </a:r>
          </a:p>
        </p:txBody>
      </p:sp>
      <p:cxnSp>
        <p:nvCxnSpPr>
          <p:cNvPr id="36" name="Straight Connector 35">
            <a:extLst>
              <a:ext uri="{FF2B5EF4-FFF2-40B4-BE49-F238E27FC236}">
                <a16:creationId xmlns:a16="http://schemas.microsoft.com/office/drawing/2014/main" id="{F97E36B7-2DA4-401A-B127-656BA6DF6959}"/>
              </a:ext>
            </a:extLst>
          </p:cNvPr>
          <p:cNvCxnSpPr>
            <a:cxnSpLocks/>
          </p:cNvCxnSpPr>
          <p:nvPr/>
        </p:nvCxnSpPr>
        <p:spPr>
          <a:xfrm>
            <a:off x="6095999" y="1422400"/>
            <a:ext cx="0" cy="84455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29247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400"/>
                                        <p:tgtEl>
                                          <p:spTgt spid="26"/>
                                        </p:tgtEl>
                                      </p:cBhvr>
                                    </p:animEffect>
                                  </p:childTnLst>
                                </p:cTn>
                              </p:par>
                              <p:par>
                                <p:cTn id="8" presetID="42" presetClass="path" presetSubtype="0" accel="50000" decel="50000" fill="hold" grpId="1" nodeType="withEffect">
                                  <p:stCondLst>
                                    <p:cond delay="0"/>
                                  </p:stCondLst>
                                  <p:childTnLst>
                                    <p:animMotion origin="layout" path="M -2.91667E-6 -0.09074 L -2.91667E-6 -0.00255 " pathEditMode="relative" rAng="0" ptsTypes="AA">
                                      <p:cBhvr>
                                        <p:cTn id="9" dur="400" fill="hold"/>
                                        <p:tgtEl>
                                          <p:spTgt spid="26"/>
                                        </p:tgtEl>
                                        <p:attrNameLst>
                                          <p:attrName>ppt_x</p:attrName>
                                          <p:attrName>ppt_y</p:attrName>
                                        </p:attrNameLst>
                                      </p:cBhvr>
                                      <p:rCtr x="0" y="4398"/>
                                    </p:animMotion>
                                  </p:childTnLst>
                                </p:cTn>
                              </p:par>
                              <p:par>
                                <p:cTn id="10" presetID="10" presetClass="entr" presetSubtype="0" fill="hold" grpId="0"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400"/>
                                        <p:tgtEl>
                                          <p:spTgt spid="27"/>
                                        </p:tgtEl>
                                      </p:cBhvr>
                                    </p:animEffect>
                                  </p:childTnLst>
                                </p:cTn>
                              </p:par>
                              <p:par>
                                <p:cTn id="13" presetID="42" presetClass="path" presetSubtype="0" accel="50000" decel="50000" fill="hold" grpId="1" nodeType="withEffect">
                                  <p:stCondLst>
                                    <p:cond delay="0"/>
                                  </p:stCondLst>
                                  <p:childTnLst>
                                    <p:animMotion origin="layout" path="M 1.45833E-6 -0.09074 L 1.45833E-6 -0.00255 " pathEditMode="relative" rAng="0" ptsTypes="AA">
                                      <p:cBhvr>
                                        <p:cTn id="14" dur="400" fill="hold"/>
                                        <p:tgtEl>
                                          <p:spTgt spid="27"/>
                                        </p:tgtEl>
                                        <p:attrNameLst>
                                          <p:attrName>ppt_x</p:attrName>
                                          <p:attrName>ppt_y</p:attrName>
                                        </p:attrNameLst>
                                      </p:cBhvr>
                                      <p:rCtr x="0" y="439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P spid="27" grpId="0"/>
      <p:bldP spid="27"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A1EE3B-B758-4844-A243-F5E75EAC4E8D}"/>
              </a:ext>
              <a:ext uri="{C183D7F6-B498-43B3-948B-1728B52AA6E4}">
                <adec:decorative xmlns:adec="http://schemas.microsoft.com/office/drawing/2017/decorative" val="1"/>
              </a:ext>
            </a:extLst>
          </p:cNvPr>
          <p:cNvSpPr/>
          <p:nvPr/>
        </p:nvSpPr>
        <p:spPr bwMode="white">
          <a:xfrm>
            <a:off x="609601" y="-2"/>
            <a:ext cx="11582399" cy="68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82AD2E4A-3C57-40F7-8A60-0AD6B9EA998C}"/>
              </a:ext>
            </a:extLst>
          </p:cNvPr>
          <p:cNvGrpSpPr/>
          <p:nvPr/>
        </p:nvGrpSpPr>
        <p:grpSpPr>
          <a:xfrm>
            <a:off x="6882384" y="-1"/>
            <a:ext cx="5309616" cy="6858001"/>
            <a:chOff x="6882384" y="-1"/>
            <a:chExt cx="5309616" cy="6858001"/>
          </a:xfrm>
        </p:grpSpPr>
        <p:pic>
          <p:nvPicPr>
            <p:cNvPr id="14" name="Graphic 13" descr="Viva graphic">
              <a:extLst>
                <a:ext uri="{FF2B5EF4-FFF2-40B4-BE49-F238E27FC236}">
                  <a16:creationId xmlns:a16="http://schemas.microsoft.com/office/drawing/2014/main" id="{D81B13CB-DD7D-4199-90F6-BCBE4679B7C9}"/>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 t="37067" r="63457" b="24387"/>
            <a:stretch/>
          </p:blipFill>
          <p:spPr bwMode="ltGray">
            <a:xfrm>
              <a:off x="6882384" y="1257299"/>
              <a:ext cx="5309616" cy="5600701"/>
            </a:xfrm>
            <a:prstGeom prst="rect">
              <a:avLst/>
            </a:prstGeom>
          </p:spPr>
        </p:pic>
        <p:pic>
          <p:nvPicPr>
            <p:cNvPr id="15" name="Graphic 14" descr="Viva graphic">
              <a:extLst>
                <a:ext uri="{FF2B5EF4-FFF2-40B4-BE49-F238E27FC236}">
                  <a16:creationId xmlns:a16="http://schemas.microsoft.com/office/drawing/2014/main" id="{53AE230C-92AC-4825-B8EB-8F8B34B8B8E8}"/>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19363" r="63456" b="59769"/>
            <a:stretch/>
          </p:blipFill>
          <p:spPr bwMode="ltGray">
            <a:xfrm>
              <a:off x="6882384" y="-1"/>
              <a:ext cx="5309616" cy="3032125"/>
            </a:xfrm>
            <a:prstGeom prst="rect">
              <a:avLst/>
            </a:prstGeom>
          </p:spPr>
        </p:pic>
      </p:grpSp>
      <p:sp>
        <p:nvSpPr>
          <p:cNvPr id="2" name="Title 1"/>
          <p:cNvSpPr>
            <a:spLocks noGrp="1"/>
          </p:cNvSpPr>
          <p:nvPr>
            <p:ph type="title" idx="4294967295"/>
          </p:nvPr>
        </p:nvSpPr>
        <p:spPr>
          <a:xfrm>
            <a:off x="1458913" y="3059113"/>
            <a:ext cx="10733087" cy="739775"/>
          </a:xfrm>
        </p:spPr>
        <p:txBody>
          <a:bodyPr anchor="ctr"/>
          <a:lstStyle/>
          <a:p>
            <a:r>
              <a:rPr lang="en-US" sz="4800" noProof="0"/>
              <a:t>Deploy</a:t>
            </a:r>
            <a:endParaRPr lang="en-US" sz="4000">
              <a:latin typeface="+mn-lt"/>
            </a:endParaRPr>
          </a:p>
        </p:txBody>
      </p:sp>
      <p:sp>
        <p:nvSpPr>
          <p:cNvPr id="9" name="Rectangle 8">
            <a:extLst>
              <a:ext uri="{FF2B5EF4-FFF2-40B4-BE49-F238E27FC236}">
                <a16:creationId xmlns:a16="http://schemas.microsoft.com/office/drawing/2014/main" id="{325186E8-410B-4E1C-98B6-1DD1DC8D09ED}"/>
              </a:ext>
              <a:ext uri="{C183D7F6-B498-43B3-948B-1728B52AA6E4}">
                <adec:decorative xmlns:adec="http://schemas.microsoft.com/office/drawing/2017/decorative" val="1"/>
              </a:ext>
            </a:extLst>
          </p:cNvPr>
          <p:cNvSpPr/>
          <p:nvPr/>
        </p:nvSpPr>
        <p:spPr bwMode="white">
          <a:xfrm>
            <a:off x="1" y="0"/>
            <a:ext cx="609600" cy="686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8929314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 name="Rectangle 143">
            <a:extLst>
              <a:ext uri="{FF2B5EF4-FFF2-40B4-BE49-F238E27FC236}">
                <a16:creationId xmlns:a16="http://schemas.microsoft.com/office/drawing/2014/main" id="{AD4207EE-870A-48D2-B183-5B483AC6D7E6}"/>
              </a:ext>
            </a:extLst>
          </p:cNvPr>
          <p:cNvSpPr/>
          <p:nvPr/>
        </p:nvSpPr>
        <p:spPr bwMode="auto">
          <a:xfrm>
            <a:off x="5001986" y="2171699"/>
            <a:ext cx="3209905" cy="482973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3" name="Rectangle 142">
            <a:extLst>
              <a:ext uri="{FF2B5EF4-FFF2-40B4-BE49-F238E27FC236}">
                <a16:creationId xmlns:a16="http://schemas.microsoft.com/office/drawing/2014/main" id="{63CC1B70-80B8-4011-8EBD-EF10F9F0EB10}"/>
              </a:ext>
            </a:extLst>
          </p:cNvPr>
          <p:cNvSpPr/>
          <p:nvPr/>
        </p:nvSpPr>
        <p:spPr bwMode="auto">
          <a:xfrm>
            <a:off x="727962" y="1257301"/>
            <a:ext cx="3905250" cy="518793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5" name="Arrow: Bent 124">
            <a:extLst>
              <a:ext uri="{FF2B5EF4-FFF2-40B4-BE49-F238E27FC236}">
                <a16:creationId xmlns:a16="http://schemas.microsoft.com/office/drawing/2014/main" id="{CE60266A-5097-4CE7-8B82-3190E78AEF13}"/>
              </a:ext>
            </a:extLst>
          </p:cNvPr>
          <p:cNvSpPr/>
          <p:nvPr/>
        </p:nvSpPr>
        <p:spPr bwMode="auto">
          <a:xfrm rot="10800000" flipH="1" flipV="1">
            <a:off x="4862286" y="2171700"/>
            <a:ext cx="3837214" cy="2728317"/>
          </a:xfrm>
          <a:prstGeom prst="bentArrow">
            <a:avLst>
              <a:gd name="adj1" fmla="val 25000"/>
              <a:gd name="adj2" fmla="val 0"/>
              <a:gd name="adj3" fmla="val 25000"/>
              <a:gd name="adj4" fmla="val 4224"/>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cs typeface="Segoe UI" pitchFamily="34" charset="0"/>
            </a:endParaRPr>
          </a:p>
        </p:txBody>
      </p:sp>
      <p:sp>
        <p:nvSpPr>
          <p:cNvPr id="74" name="Freeform: Shape 73">
            <a:extLst>
              <a:ext uri="{FF2B5EF4-FFF2-40B4-BE49-F238E27FC236}">
                <a16:creationId xmlns:a16="http://schemas.microsoft.com/office/drawing/2014/main" id="{8382179E-613D-4A0D-94CE-18CBB3E9973C}"/>
              </a:ext>
            </a:extLst>
          </p:cNvPr>
          <p:cNvSpPr>
            <a:spLocks/>
          </p:cNvSpPr>
          <p:nvPr/>
        </p:nvSpPr>
        <p:spPr bwMode="auto">
          <a:xfrm>
            <a:off x="7142422" y="2"/>
            <a:ext cx="5049578" cy="4140036"/>
          </a:xfrm>
          <a:custGeom>
            <a:avLst/>
            <a:gdLst>
              <a:gd name="connsiteX0" fmla="*/ 172168 w 5049578"/>
              <a:gd name="connsiteY0" fmla="*/ 0 h 4140036"/>
              <a:gd name="connsiteX1" fmla="*/ 5049578 w 5049578"/>
              <a:gd name="connsiteY1" fmla="*/ 0 h 4140036"/>
              <a:gd name="connsiteX2" fmla="*/ 5049578 w 5049578"/>
              <a:gd name="connsiteY2" fmla="*/ 2849590 h 4140036"/>
              <a:gd name="connsiteX3" fmla="*/ 3714059 w 5049578"/>
              <a:gd name="connsiteY3" fmla="*/ 4052097 h 4140036"/>
              <a:gd name="connsiteX4" fmla="*/ 3230556 w 5049578"/>
              <a:gd name="connsiteY4" fmla="*/ 4026758 h 4140036"/>
              <a:gd name="connsiteX5" fmla="*/ 87939 w 5049578"/>
              <a:gd name="connsiteY5" fmla="*/ 536527 h 4140036"/>
              <a:gd name="connsiteX6" fmla="*/ 113278 w 5049578"/>
              <a:gd name="connsiteY6" fmla="*/ 53025 h 4140036"/>
              <a:gd name="connsiteX7" fmla="*/ 172168 w 5049578"/>
              <a:gd name="connsiteY7" fmla="*/ 0 h 414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9578" h="4140036">
                <a:moveTo>
                  <a:pt x="172168" y="0"/>
                </a:moveTo>
                <a:lnTo>
                  <a:pt x="5049578" y="0"/>
                </a:lnTo>
                <a:lnTo>
                  <a:pt x="5049578" y="2849590"/>
                </a:lnTo>
                <a:lnTo>
                  <a:pt x="3714059" y="4052097"/>
                </a:lnTo>
                <a:cubicBezTo>
                  <a:pt x="3573545" y="4178616"/>
                  <a:pt x="3357075" y="4167271"/>
                  <a:pt x="3230556" y="4026758"/>
                </a:cubicBezTo>
                <a:lnTo>
                  <a:pt x="87939" y="536527"/>
                </a:lnTo>
                <a:cubicBezTo>
                  <a:pt x="-38580" y="396014"/>
                  <a:pt x="-27235" y="179544"/>
                  <a:pt x="113278" y="53025"/>
                </a:cubicBezTo>
                <a:lnTo>
                  <a:pt x="172168" y="0"/>
                </a:lnTo>
                <a:close/>
              </a:path>
            </a:pathLst>
          </a:custGeom>
          <a:solidFill>
            <a:schemeClr val="accent1">
              <a:alpha val="77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3" name="Picture 52" descr="A person writing on a whiteboard&#10;&#10;Description automatically generated">
            <a:extLst>
              <a:ext uri="{FF2B5EF4-FFF2-40B4-BE49-F238E27FC236}">
                <a16:creationId xmlns:a16="http://schemas.microsoft.com/office/drawing/2014/main" id="{198EEBD1-48E4-4B8E-A94D-2E212A88ECC1}"/>
              </a:ext>
            </a:extLst>
          </p:cNvPr>
          <p:cNvPicPr>
            <a:picLocks noChangeAspect="1"/>
          </p:cNvPicPr>
          <p:nvPr/>
        </p:nvPicPr>
        <p:blipFill>
          <a:blip r:embed="rId3">
            <a:extLst>
              <a:ext uri="{28A0092B-C50C-407E-A947-70E740481C1C}">
                <a14:useLocalDpi xmlns:a14="http://schemas.microsoft.com/office/drawing/2010/main" val="0"/>
              </a:ext>
            </a:extLst>
          </a:blip>
          <a:srcRect t="3467" r="22535" b="2364"/>
          <a:stretch>
            <a:fillRect/>
          </a:stretch>
        </p:blipFill>
        <p:spPr>
          <a:xfrm>
            <a:off x="7322186" y="2"/>
            <a:ext cx="4869814" cy="3946625"/>
          </a:xfrm>
          <a:custGeom>
            <a:avLst/>
            <a:gdLst>
              <a:gd name="connsiteX0" fmla="*/ 196264 w 4869814"/>
              <a:gd name="connsiteY0" fmla="*/ 0 h 3946625"/>
              <a:gd name="connsiteX1" fmla="*/ 4869814 w 4869814"/>
              <a:gd name="connsiteY1" fmla="*/ 1 h 3946625"/>
              <a:gd name="connsiteX2" fmla="*/ 4869814 w 4869814"/>
              <a:gd name="connsiteY2" fmla="*/ 2639354 h 3946625"/>
              <a:gd name="connsiteX3" fmla="*/ 3499134 w 4869814"/>
              <a:gd name="connsiteY3" fmla="*/ 3873520 h 3946625"/>
              <a:gd name="connsiteX4" fmla="*/ 3097190 w 4869814"/>
              <a:gd name="connsiteY4" fmla="*/ 3852455 h 3946625"/>
              <a:gd name="connsiteX5" fmla="*/ 73106 w 4869814"/>
              <a:gd name="connsiteY5" fmla="*/ 493868 h 3946625"/>
              <a:gd name="connsiteX6" fmla="*/ 94171 w 4869814"/>
              <a:gd name="connsiteY6" fmla="*/ 91925 h 394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9814" h="3946625">
                <a:moveTo>
                  <a:pt x="196264" y="0"/>
                </a:moveTo>
                <a:lnTo>
                  <a:pt x="4869814" y="1"/>
                </a:lnTo>
                <a:lnTo>
                  <a:pt x="4869814" y="2639354"/>
                </a:lnTo>
                <a:lnTo>
                  <a:pt x="3499134" y="3873520"/>
                </a:lnTo>
                <a:cubicBezTo>
                  <a:pt x="3382322" y="3978697"/>
                  <a:pt x="3202366" y="3969265"/>
                  <a:pt x="3097190" y="3852455"/>
                </a:cubicBezTo>
                <a:lnTo>
                  <a:pt x="73106" y="493868"/>
                </a:lnTo>
                <a:cubicBezTo>
                  <a:pt x="-32071" y="377058"/>
                  <a:pt x="-22640" y="197101"/>
                  <a:pt x="94171" y="91925"/>
                </a:cubicBezTo>
                <a:close/>
              </a:path>
            </a:pathLst>
          </a:custGeom>
        </p:spPr>
      </p:pic>
      <p:sp>
        <p:nvSpPr>
          <p:cNvPr id="2" name="Title 1">
            <a:extLst>
              <a:ext uri="{FF2B5EF4-FFF2-40B4-BE49-F238E27FC236}">
                <a16:creationId xmlns:a16="http://schemas.microsoft.com/office/drawing/2014/main" id="{7E7819D0-24F1-4A28-B677-1E8E7D93F1BB}"/>
              </a:ext>
            </a:extLst>
          </p:cNvPr>
          <p:cNvSpPr>
            <a:spLocks noGrp="1"/>
          </p:cNvSpPr>
          <p:nvPr>
            <p:ph type="title"/>
          </p:nvPr>
        </p:nvSpPr>
        <p:spPr>
          <a:xfrm>
            <a:off x="588263" y="457200"/>
            <a:ext cx="11018520" cy="553998"/>
          </a:xfrm>
        </p:spPr>
        <p:txBody>
          <a:bodyPr/>
          <a:lstStyle/>
          <a:p>
            <a:r>
              <a:rPr lang="en-US"/>
              <a:t>Table of contents</a:t>
            </a:r>
          </a:p>
        </p:txBody>
      </p:sp>
      <p:sp>
        <p:nvSpPr>
          <p:cNvPr id="36" name="Arrow: U-Turn 35">
            <a:extLst>
              <a:ext uri="{FF2B5EF4-FFF2-40B4-BE49-F238E27FC236}">
                <a16:creationId xmlns:a16="http://schemas.microsoft.com/office/drawing/2014/main" id="{3F154F3D-1D92-4714-B0DA-05BD97968C9C}"/>
              </a:ext>
            </a:extLst>
          </p:cNvPr>
          <p:cNvSpPr/>
          <p:nvPr/>
        </p:nvSpPr>
        <p:spPr bwMode="auto">
          <a:xfrm rot="16200000" flipV="1">
            <a:off x="2661076" y="-808464"/>
            <a:ext cx="165100" cy="3953727"/>
          </a:xfrm>
          <a:prstGeom prst="uturnArrow">
            <a:avLst>
              <a:gd name="adj1" fmla="val 25000"/>
              <a:gd name="adj2" fmla="val 0"/>
              <a:gd name="adj3" fmla="val 25000"/>
              <a:gd name="adj4" fmla="val 46303"/>
              <a:gd name="adj5" fmla="val 75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6" name="Arrow: Bent 115">
            <a:extLst>
              <a:ext uri="{FF2B5EF4-FFF2-40B4-BE49-F238E27FC236}">
                <a16:creationId xmlns:a16="http://schemas.microsoft.com/office/drawing/2014/main" id="{C7AEEE7C-B159-4FA9-980D-AE818E676DD1}"/>
              </a:ext>
            </a:extLst>
          </p:cNvPr>
          <p:cNvSpPr/>
          <p:nvPr/>
        </p:nvSpPr>
        <p:spPr bwMode="auto">
          <a:xfrm rot="10800000" flipH="1" flipV="1">
            <a:off x="588263" y="1250950"/>
            <a:ext cx="201393" cy="4544102"/>
          </a:xfrm>
          <a:prstGeom prst="bentArrow">
            <a:avLst>
              <a:gd name="adj1" fmla="val 25000"/>
              <a:gd name="adj2" fmla="val 0"/>
              <a:gd name="adj3" fmla="val 0"/>
              <a:gd name="adj4" fmla="val 48086"/>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35" name="Rectangle: Top Corners Rounded 34">
            <a:extLst>
              <a:ext uri="{FF2B5EF4-FFF2-40B4-BE49-F238E27FC236}">
                <a16:creationId xmlns:a16="http://schemas.microsoft.com/office/drawing/2014/main" id="{9C7219C4-8534-4FE9-8092-BDA86311CA40}"/>
              </a:ext>
            </a:extLst>
          </p:cNvPr>
          <p:cNvSpPr/>
          <p:nvPr/>
        </p:nvSpPr>
        <p:spPr bwMode="auto">
          <a:xfrm rot="5400000">
            <a:off x="2004672" y="-941725"/>
            <a:ext cx="61003" cy="4070351"/>
          </a:xfrm>
          <a:prstGeom prst="round2SameRect">
            <a:avLst>
              <a:gd name="adj1" fmla="val 500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85" name="TextBox 84">
            <a:extLst>
              <a:ext uri="{FF2B5EF4-FFF2-40B4-BE49-F238E27FC236}">
                <a16:creationId xmlns:a16="http://schemas.microsoft.com/office/drawing/2014/main" id="{B8530F0B-B212-48B7-9DF8-4084792606BE}"/>
              </a:ext>
            </a:extLst>
          </p:cNvPr>
          <p:cNvSpPr txBox="1"/>
          <p:nvPr/>
        </p:nvSpPr>
        <p:spPr>
          <a:xfrm>
            <a:off x="825756" y="1644901"/>
            <a:ext cx="1351780" cy="382156"/>
          </a:xfrm>
          <a:prstGeom prst="rect">
            <a:avLst/>
          </a:prstGeom>
          <a:noFill/>
        </p:spPr>
        <p:txBody>
          <a:bodyPr wrap="none" lIns="0" tIns="0" rIns="0" bIns="0">
            <a:noAutofit/>
          </a:bodyPr>
          <a:lstStyle/>
          <a:p>
            <a:pPr>
              <a:spcAft>
                <a:spcPts val="100"/>
              </a:spcAft>
              <a:defRPr/>
            </a:pPr>
            <a:r>
              <a:rPr lang="en-US" sz="1400">
                <a:solidFill>
                  <a:schemeClr val="accent1"/>
                </a:solidFill>
                <a:latin typeface="+mj-lt"/>
                <a:cs typeface="Arial"/>
                <a:hlinkClick r:id="rId4" action="ppaction://hlinksldjump"/>
              </a:rPr>
              <a:t>Intro</a:t>
            </a:r>
            <a:r>
              <a:rPr lang="en-US" sz="1400">
                <a:latin typeface="+mj-lt"/>
                <a:cs typeface="Arial"/>
              </a:rPr>
              <a:t> </a:t>
            </a:r>
          </a:p>
          <a:p>
            <a:pPr marL="269875" indent="-171450">
              <a:spcAft>
                <a:spcPts val="100"/>
              </a:spcAft>
              <a:buFont typeface="Verdana" panose="020B0604030504040204" pitchFamily="34" charset="0"/>
              <a:buChar char="-"/>
              <a:defRPr/>
            </a:pPr>
            <a:r>
              <a:rPr lang="en-US" sz="1200">
                <a:cs typeface="Arial"/>
              </a:rPr>
              <a:t>Adoption guide overview</a:t>
            </a:r>
          </a:p>
        </p:txBody>
      </p:sp>
      <p:sp>
        <p:nvSpPr>
          <p:cNvPr id="37" name="Rectangle: Top Corners Rounded 36">
            <a:hlinkClick r:id="rId4" action="ppaction://hlinksldjump"/>
            <a:extLst>
              <a:ext uri="{FF2B5EF4-FFF2-40B4-BE49-F238E27FC236}">
                <a16:creationId xmlns:a16="http://schemas.microsoft.com/office/drawing/2014/main" id="{C7957521-4245-485D-917B-F30E05B00DC0}"/>
              </a:ext>
            </a:extLst>
          </p:cNvPr>
          <p:cNvSpPr/>
          <p:nvPr/>
        </p:nvSpPr>
        <p:spPr bwMode="auto">
          <a:xfrm rot="5400000">
            <a:off x="781204" y="1132660"/>
            <a:ext cx="268251" cy="654135"/>
          </a:xfrm>
          <a:prstGeom prst="round2SameRect">
            <a:avLst>
              <a:gd name="adj1" fmla="val 4359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ea typeface="Segoe UI" pitchFamily="34" charset="0"/>
                <a:cs typeface="Segoe UI" pitchFamily="34" charset="0"/>
              </a:rPr>
              <a:t>01</a:t>
            </a:r>
          </a:p>
        </p:txBody>
      </p:sp>
      <p:sp>
        <p:nvSpPr>
          <p:cNvPr id="88" name="TextBox 87">
            <a:extLst>
              <a:ext uri="{FF2B5EF4-FFF2-40B4-BE49-F238E27FC236}">
                <a16:creationId xmlns:a16="http://schemas.microsoft.com/office/drawing/2014/main" id="{B21CF764-24E9-458F-BCF3-E684382F7F72}"/>
              </a:ext>
            </a:extLst>
          </p:cNvPr>
          <p:cNvSpPr txBox="1"/>
          <p:nvPr/>
        </p:nvSpPr>
        <p:spPr>
          <a:xfrm>
            <a:off x="825756" y="2508958"/>
            <a:ext cx="2871770" cy="777136"/>
          </a:xfrm>
          <a:prstGeom prst="rect">
            <a:avLst/>
          </a:prstGeom>
          <a:noFill/>
        </p:spPr>
        <p:txBody>
          <a:bodyPr wrap="none" lIns="0" tIns="0" rIns="0" bIns="0">
            <a:noAutofit/>
          </a:bodyPr>
          <a:lstStyle/>
          <a:p>
            <a:pPr>
              <a:spcAft>
                <a:spcPts val="100"/>
              </a:spcAft>
              <a:defRPr/>
            </a:pPr>
            <a:r>
              <a:rPr lang="en-US" sz="1400">
                <a:solidFill>
                  <a:schemeClr val="accent1"/>
                </a:solidFill>
                <a:latin typeface="+mj-lt"/>
                <a:cs typeface="Arial"/>
                <a:hlinkClick r:id="rId5" action="ppaction://hlinksldjump"/>
              </a:rPr>
              <a:t>Assess</a:t>
            </a:r>
            <a:r>
              <a:rPr lang="en-US" sz="1400">
                <a:solidFill>
                  <a:schemeClr val="accent1"/>
                </a:solidFill>
                <a:latin typeface="+mj-lt"/>
                <a:cs typeface="Arial"/>
              </a:rPr>
              <a:t> </a:t>
            </a:r>
          </a:p>
          <a:p>
            <a:pPr marL="269875" indent="-171450">
              <a:spcAft>
                <a:spcPts val="100"/>
              </a:spcAft>
              <a:buFont typeface="Verdana" panose="020B0604030504040204" pitchFamily="34" charset="0"/>
              <a:buChar char="-"/>
              <a:defRPr/>
            </a:pPr>
            <a:r>
              <a:rPr lang="en-US" sz="1200">
                <a:cs typeface="Arial"/>
              </a:rPr>
              <a:t>Understand access requirements</a:t>
            </a:r>
          </a:p>
          <a:p>
            <a:pPr marL="269875" indent="-171450">
              <a:spcAft>
                <a:spcPts val="100"/>
              </a:spcAft>
              <a:buFont typeface="Verdana" panose="020B0604030504040204" pitchFamily="34" charset="0"/>
              <a:buChar char="-"/>
              <a:defRPr/>
            </a:pPr>
            <a:r>
              <a:rPr lang="en-US" sz="1200">
                <a:cs typeface="Arial"/>
              </a:rPr>
              <a:t>Assess current learning ecosystem</a:t>
            </a:r>
          </a:p>
          <a:p>
            <a:pPr marL="269875" indent="-171450">
              <a:spcAft>
                <a:spcPts val="100"/>
              </a:spcAft>
              <a:buFont typeface="Verdana" panose="020B0604030504040204" pitchFamily="34" charset="0"/>
              <a:buChar char="-"/>
              <a:defRPr/>
            </a:pPr>
            <a:r>
              <a:rPr lang="en-US" sz="1200">
                <a:cs typeface="Arial"/>
              </a:rPr>
              <a:t>Define target scenarios </a:t>
            </a:r>
          </a:p>
          <a:p>
            <a:pPr marL="269875" indent="-171450">
              <a:spcAft>
                <a:spcPts val="100"/>
              </a:spcAft>
              <a:buFont typeface="Verdana" panose="020B0604030504040204" pitchFamily="34" charset="0"/>
              <a:buChar char="-"/>
              <a:defRPr/>
            </a:pPr>
            <a:r>
              <a:rPr lang="en-US" sz="1200">
                <a:cs typeface="Arial"/>
              </a:rPr>
              <a:t>Target scenario examples</a:t>
            </a:r>
          </a:p>
          <a:p>
            <a:pPr marL="269875" indent="-171450">
              <a:spcAft>
                <a:spcPts val="100"/>
              </a:spcAft>
              <a:buFont typeface="Verdana" panose="020B0604030504040204" pitchFamily="34" charset="0"/>
              <a:buChar char="-"/>
              <a:defRPr/>
            </a:pPr>
            <a:r>
              <a:rPr lang="en-US" sz="1200">
                <a:cs typeface="Arial"/>
              </a:rPr>
              <a:t>Assess readiness</a:t>
            </a:r>
          </a:p>
        </p:txBody>
      </p:sp>
      <p:sp>
        <p:nvSpPr>
          <p:cNvPr id="117" name="Rectangle: Top Corners Rounded 116">
            <a:hlinkClick r:id="rId5" action="ppaction://hlinksldjump"/>
            <a:extLst>
              <a:ext uri="{FF2B5EF4-FFF2-40B4-BE49-F238E27FC236}">
                <a16:creationId xmlns:a16="http://schemas.microsoft.com/office/drawing/2014/main" id="{442D2696-972D-45DE-A0E3-64CC48FD7D80}"/>
              </a:ext>
            </a:extLst>
          </p:cNvPr>
          <p:cNvSpPr/>
          <p:nvPr/>
        </p:nvSpPr>
        <p:spPr bwMode="auto">
          <a:xfrm rot="5400000">
            <a:off x="781204" y="1989323"/>
            <a:ext cx="268251" cy="654135"/>
          </a:xfrm>
          <a:prstGeom prst="round2SameRect">
            <a:avLst>
              <a:gd name="adj1" fmla="val 4359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itchFamily="34" charset="0"/>
              </a:rPr>
              <a:t>02</a:t>
            </a:r>
          </a:p>
        </p:txBody>
      </p:sp>
      <p:sp>
        <p:nvSpPr>
          <p:cNvPr id="91" name="TextBox 90">
            <a:extLst>
              <a:ext uri="{FF2B5EF4-FFF2-40B4-BE49-F238E27FC236}">
                <a16:creationId xmlns:a16="http://schemas.microsoft.com/office/drawing/2014/main" id="{B8A537BC-F92B-46B3-9117-0FD1EAF19C8B}"/>
              </a:ext>
            </a:extLst>
          </p:cNvPr>
          <p:cNvSpPr txBox="1"/>
          <p:nvPr/>
        </p:nvSpPr>
        <p:spPr>
          <a:xfrm>
            <a:off x="825756" y="4114493"/>
            <a:ext cx="2784352" cy="974626"/>
          </a:xfrm>
          <a:prstGeom prst="rect">
            <a:avLst/>
          </a:prstGeom>
          <a:noFill/>
        </p:spPr>
        <p:txBody>
          <a:bodyPr wrap="none" lIns="0" tIns="0" rIns="0" bIns="0">
            <a:noAutofit/>
          </a:bodyPr>
          <a:lstStyle/>
          <a:p>
            <a:pPr>
              <a:spcAft>
                <a:spcPts val="100"/>
              </a:spcAft>
              <a:defRPr/>
            </a:pPr>
            <a:r>
              <a:rPr lang="en-US" sz="1400">
                <a:solidFill>
                  <a:schemeClr val="accent1"/>
                </a:solidFill>
                <a:latin typeface="+mj-lt"/>
                <a:cs typeface="Arial"/>
                <a:hlinkClick r:id="rId6" action="ppaction://hlinksldjump"/>
              </a:rPr>
              <a:t>Plan</a:t>
            </a:r>
            <a:r>
              <a:rPr lang="en-US" sz="1400">
                <a:solidFill>
                  <a:schemeClr val="accent1"/>
                </a:solidFill>
                <a:latin typeface="+mj-lt"/>
                <a:cs typeface="Arial"/>
              </a:rPr>
              <a:t> </a:t>
            </a:r>
          </a:p>
          <a:p>
            <a:pPr marL="269875" indent="-171450">
              <a:spcAft>
                <a:spcPts val="100"/>
              </a:spcAft>
              <a:buFont typeface="Verdana" panose="020B0604030504040204" pitchFamily="34" charset="0"/>
              <a:buChar char="-"/>
              <a:defRPr/>
            </a:pPr>
            <a:r>
              <a:rPr lang="en-US" sz="1200">
                <a:cs typeface="Arial"/>
              </a:rPr>
              <a:t>Define success criteria</a:t>
            </a:r>
          </a:p>
          <a:p>
            <a:pPr marL="269875" indent="-171450">
              <a:spcAft>
                <a:spcPts val="100"/>
              </a:spcAft>
              <a:buFont typeface="Verdana" panose="020B0604030504040204" pitchFamily="34" charset="0"/>
              <a:buChar char="-"/>
              <a:defRPr/>
            </a:pPr>
            <a:r>
              <a:rPr lang="en-US" sz="1200">
                <a:cs typeface="Arial"/>
              </a:rPr>
              <a:t>Assemble core team </a:t>
            </a:r>
          </a:p>
          <a:p>
            <a:pPr marL="269875" indent="-171450">
              <a:spcAft>
                <a:spcPts val="100"/>
              </a:spcAft>
              <a:buFont typeface="Verdana" panose="020B0604030504040204" pitchFamily="34" charset="0"/>
              <a:buChar char="-"/>
              <a:defRPr/>
            </a:pPr>
            <a:r>
              <a:rPr lang="en-US" sz="1200">
                <a:cs typeface="Arial"/>
              </a:rPr>
              <a:t>Assign core team R&amp;R</a:t>
            </a:r>
          </a:p>
          <a:p>
            <a:pPr marL="269875" indent="-171450">
              <a:spcAft>
                <a:spcPts val="100"/>
              </a:spcAft>
              <a:buFont typeface="Verdana" panose="020B0604030504040204" pitchFamily="34" charset="0"/>
              <a:buChar char="-"/>
              <a:defRPr/>
            </a:pPr>
            <a:r>
              <a:rPr lang="en-US" sz="1200">
                <a:cs typeface="Arial"/>
              </a:rPr>
              <a:t>Understand common adoption concerns</a:t>
            </a:r>
          </a:p>
        </p:txBody>
      </p:sp>
      <p:sp>
        <p:nvSpPr>
          <p:cNvPr id="118" name="Rectangle: Top Corners Rounded 117">
            <a:hlinkClick r:id="rId6" action="ppaction://hlinksldjump"/>
            <a:extLst>
              <a:ext uri="{FF2B5EF4-FFF2-40B4-BE49-F238E27FC236}">
                <a16:creationId xmlns:a16="http://schemas.microsoft.com/office/drawing/2014/main" id="{292FA02A-AE7F-4378-94EA-65D56C692AF4}"/>
              </a:ext>
            </a:extLst>
          </p:cNvPr>
          <p:cNvSpPr/>
          <p:nvPr/>
        </p:nvSpPr>
        <p:spPr bwMode="auto">
          <a:xfrm rot="5400000">
            <a:off x="781204" y="3593667"/>
            <a:ext cx="268251" cy="654135"/>
          </a:xfrm>
          <a:prstGeom prst="round2SameRect">
            <a:avLst>
              <a:gd name="adj1" fmla="val 4359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itchFamily="34" charset="0"/>
              </a:rPr>
              <a:t>03</a:t>
            </a:r>
          </a:p>
        </p:txBody>
      </p:sp>
      <p:sp>
        <p:nvSpPr>
          <p:cNvPr id="94" name="TextBox 93">
            <a:extLst>
              <a:ext uri="{FF2B5EF4-FFF2-40B4-BE49-F238E27FC236}">
                <a16:creationId xmlns:a16="http://schemas.microsoft.com/office/drawing/2014/main" id="{3D6D061F-BEB6-405B-A736-452CB7535793}"/>
              </a:ext>
            </a:extLst>
          </p:cNvPr>
          <p:cNvSpPr txBox="1"/>
          <p:nvPr/>
        </p:nvSpPr>
        <p:spPr>
          <a:xfrm>
            <a:off x="829851" y="5523127"/>
            <a:ext cx="3028971" cy="922109"/>
          </a:xfrm>
          <a:prstGeom prst="rect">
            <a:avLst/>
          </a:prstGeom>
          <a:noFill/>
        </p:spPr>
        <p:txBody>
          <a:bodyPr wrap="none" lIns="0" tIns="0" rIns="0" bIns="0">
            <a:noAutofit/>
          </a:bodyPr>
          <a:lstStyle/>
          <a:p>
            <a:pPr>
              <a:spcAft>
                <a:spcPts val="100"/>
              </a:spcAft>
              <a:defRPr/>
            </a:pPr>
            <a:r>
              <a:rPr lang="en-US" sz="1400">
                <a:solidFill>
                  <a:schemeClr val="accent1"/>
                </a:solidFill>
                <a:latin typeface="+mj-lt"/>
                <a:cs typeface="Arial"/>
                <a:hlinkClick r:id="rId7" action="ppaction://hlinksldjump"/>
              </a:rPr>
              <a:t>Deploy</a:t>
            </a:r>
            <a:r>
              <a:rPr lang="en-US" sz="1400">
                <a:solidFill>
                  <a:schemeClr val="accent1"/>
                </a:solidFill>
                <a:latin typeface="+mj-lt"/>
                <a:cs typeface="Arial"/>
              </a:rPr>
              <a:t> </a:t>
            </a:r>
          </a:p>
          <a:p>
            <a:pPr marL="269875" indent="-171450">
              <a:spcAft>
                <a:spcPts val="100"/>
              </a:spcAft>
              <a:buFont typeface="Verdana" panose="020B0604030504040204" pitchFamily="34" charset="0"/>
              <a:buChar char="-"/>
              <a:defRPr/>
            </a:pPr>
            <a:r>
              <a:rPr lang="en-US" sz="1200">
                <a:cs typeface="Arial"/>
              </a:rPr>
              <a:t>Know user discovery scenarios</a:t>
            </a:r>
          </a:p>
          <a:p>
            <a:pPr marL="269875" indent="-171450">
              <a:spcAft>
                <a:spcPts val="100"/>
              </a:spcAft>
              <a:buFont typeface="Verdana" panose="020B0604030504040204" pitchFamily="34" charset="0"/>
              <a:buChar char="-"/>
              <a:defRPr/>
            </a:pPr>
            <a:r>
              <a:rPr lang="en-US" sz="1200">
                <a:cs typeface="Arial"/>
              </a:rPr>
              <a:t>Set up and configure Viva Learning</a:t>
            </a:r>
          </a:p>
          <a:p>
            <a:pPr marL="269875" indent="-171450">
              <a:spcAft>
                <a:spcPts val="100"/>
              </a:spcAft>
              <a:buFont typeface="Verdana" panose="020B0604030504040204" pitchFamily="34" charset="0"/>
              <a:buChar char="-"/>
              <a:defRPr/>
            </a:pPr>
            <a:r>
              <a:rPr lang="en-US" sz="1200">
                <a:cs typeface="Arial"/>
              </a:rPr>
              <a:t>Understand learning content sources</a:t>
            </a:r>
          </a:p>
        </p:txBody>
      </p:sp>
      <p:sp>
        <p:nvSpPr>
          <p:cNvPr id="124" name="Arrow: U-Turn 123">
            <a:extLst>
              <a:ext uri="{FF2B5EF4-FFF2-40B4-BE49-F238E27FC236}">
                <a16:creationId xmlns:a16="http://schemas.microsoft.com/office/drawing/2014/main" id="{6FA65D8F-E304-483E-A2F2-8B30AA0969C0}"/>
              </a:ext>
            </a:extLst>
          </p:cNvPr>
          <p:cNvSpPr/>
          <p:nvPr/>
        </p:nvSpPr>
        <p:spPr bwMode="auto">
          <a:xfrm flipV="1">
            <a:off x="588262" y="4152897"/>
            <a:ext cx="4274024" cy="2292338"/>
          </a:xfrm>
          <a:prstGeom prst="uturnArrow">
            <a:avLst>
              <a:gd name="adj1" fmla="val 25000"/>
              <a:gd name="adj2" fmla="val 0"/>
              <a:gd name="adj3" fmla="val 25000"/>
              <a:gd name="adj4" fmla="val 5040"/>
              <a:gd name="adj5" fmla="val 75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28" name="Rectangle: Top Corners Rounded 127">
            <a:hlinkClick r:id="rId8" action="ppaction://hlinksldjump"/>
            <a:extLst>
              <a:ext uri="{FF2B5EF4-FFF2-40B4-BE49-F238E27FC236}">
                <a16:creationId xmlns:a16="http://schemas.microsoft.com/office/drawing/2014/main" id="{C59DD45A-A734-4E37-BD50-1248E3091CCA}"/>
              </a:ext>
            </a:extLst>
          </p:cNvPr>
          <p:cNvSpPr/>
          <p:nvPr/>
        </p:nvSpPr>
        <p:spPr bwMode="auto">
          <a:xfrm rot="5400000">
            <a:off x="789355" y="5011801"/>
            <a:ext cx="268251" cy="654135"/>
          </a:xfrm>
          <a:prstGeom prst="round2SameRect">
            <a:avLst>
              <a:gd name="adj1" fmla="val 4359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itchFamily="34" charset="0"/>
              </a:rPr>
              <a:t>04</a:t>
            </a:r>
          </a:p>
        </p:txBody>
      </p:sp>
      <p:sp>
        <p:nvSpPr>
          <p:cNvPr id="100" name="TextBox 99">
            <a:extLst>
              <a:ext uri="{FF2B5EF4-FFF2-40B4-BE49-F238E27FC236}">
                <a16:creationId xmlns:a16="http://schemas.microsoft.com/office/drawing/2014/main" id="{47950A6B-1867-452D-B4F5-7D97503E53B3}"/>
              </a:ext>
            </a:extLst>
          </p:cNvPr>
          <p:cNvSpPr txBox="1">
            <a:spLocks/>
          </p:cNvSpPr>
          <p:nvPr/>
        </p:nvSpPr>
        <p:spPr>
          <a:xfrm>
            <a:off x="5095724" y="4429057"/>
            <a:ext cx="2677784" cy="1172116"/>
          </a:xfrm>
          <a:prstGeom prst="rect">
            <a:avLst/>
          </a:prstGeom>
          <a:noFill/>
        </p:spPr>
        <p:txBody>
          <a:bodyPr wrap="none" lIns="0" tIns="0" rIns="0" bIns="0">
            <a:noAutofit/>
          </a:bodyPr>
          <a:lstStyle/>
          <a:p>
            <a:pPr>
              <a:spcAft>
                <a:spcPts val="100"/>
              </a:spcAft>
              <a:defRPr/>
            </a:pPr>
            <a:r>
              <a:rPr lang="en-US" sz="1400">
                <a:solidFill>
                  <a:schemeClr val="accent1"/>
                </a:solidFill>
                <a:latin typeface="+mj-lt"/>
                <a:cs typeface="Arial"/>
                <a:hlinkClick r:id="rId8" action="ppaction://hlinksldjump"/>
              </a:rPr>
              <a:t>Drive</a:t>
            </a:r>
            <a:r>
              <a:rPr lang="en-US" sz="1400">
                <a:solidFill>
                  <a:schemeClr val="accent1"/>
                </a:solidFill>
                <a:latin typeface="Segoe UI Semibold"/>
                <a:cs typeface="Arial"/>
              </a:rPr>
              <a:t> </a:t>
            </a:r>
          </a:p>
          <a:p>
            <a:pPr marL="269875" indent="-171450">
              <a:spcAft>
                <a:spcPts val="100"/>
              </a:spcAft>
              <a:buFont typeface="Verdana" panose="020B0604030504040204" pitchFamily="34" charset="0"/>
              <a:buChar char="-"/>
              <a:defRPr/>
            </a:pPr>
            <a:r>
              <a:rPr lang="en-US" sz="1200">
                <a:cs typeface="Arial"/>
              </a:rPr>
              <a:t>Gather insights</a:t>
            </a:r>
          </a:p>
          <a:p>
            <a:pPr marL="269875" indent="-171450">
              <a:spcAft>
                <a:spcPts val="100"/>
              </a:spcAft>
              <a:buFont typeface="Verdana" panose="020B0604030504040204" pitchFamily="34" charset="0"/>
              <a:buChar char="-"/>
              <a:defRPr/>
            </a:pPr>
            <a:r>
              <a:rPr lang="en-US" sz="1200">
                <a:cs typeface="Arial"/>
              </a:rPr>
              <a:t>Monitor satisfaction</a:t>
            </a:r>
          </a:p>
          <a:p>
            <a:pPr marL="269875" indent="-171450">
              <a:spcAft>
                <a:spcPts val="100"/>
              </a:spcAft>
              <a:buFont typeface="Verdana" panose="020B0604030504040204" pitchFamily="34" charset="0"/>
              <a:buChar char="-"/>
              <a:defRPr/>
            </a:pPr>
            <a:r>
              <a:rPr lang="en-US" sz="1200">
                <a:cs typeface="Arial"/>
              </a:rPr>
              <a:t>Reinforce adoption</a:t>
            </a:r>
          </a:p>
          <a:p>
            <a:pPr marL="269875" indent="-171450">
              <a:spcAft>
                <a:spcPts val="100"/>
              </a:spcAft>
              <a:buFont typeface="Verdana" panose="020B0604030504040204" pitchFamily="34" charset="0"/>
              <a:buChar char="-"/>
              <a:defRPr/>
            </a:pPr>
            <a:r>
              <a:rPr lang="en-US" sz="1200">
                <a:cs typeface="Arial"/>
              </a:rPr>
              <a:t>Deepen engagement</a:t>
            </a:r>
          </a:p>
          <a:p>
            <a:pPr marL="254000" indent="-155575">
              <a:spcAft>
                <a:spcPts val="100"/>
              </a:spcAft>
              <a:buFont typeface="Arial" panose="020B0604020202020204" pitchFamily="34" charset="0"/>
              <a:buChar char="•"/>
              <a:defRPr/>
            </a:pPr>
            <a:endParaRPr lang="en-US" sz="1200">
              <a:cs typeface="Arial"/>
            </a:endParaRPr>
          </a:p>
        </p:txBody>
      </p:sp>
      <p:sp>
        <p:nvSpPr>
          <p:cNvPr id="131" name="Rectangle: Top Corners Rounded 130">
            <a:hlinkClick r:id="rId8" action="ppaction://hlinksldjump"/>
            <a:extLst>
              <a:ext uri="{FF2B5EF4-FFF2-40B4-BE49-F238E27FC236}">
                <a16:creationId xmlns:a16="http://schemas.microsoft.com/office/drawing/2014/main" id="{4A4C4D9D-D2E1-4CA1-B95C-739D6FC9E558}"/>
              </a:ext>
            </a:extLst>
          </p:cNvPr>
          <p:cNvSpPr/>
          <p:nvPr/>
        </p:nvSpPr>
        <p:spPr bwMode="auto">
          <a:xfrm rot="5400000">
            <a:off x="5055228" y="3882138"/>
            <a:ext cx="268251" cy="654135"/>
          </a:xfrm>
          <a:prstGeom prst="round2SameRect">
            <a:avLst>
              <a:gd name="adj1" fmla="val 4359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itchFamily="34" charset="0"/>
              </a:rPr>
              <a:t>06</a:t>
            </a:r>
          </a:p>
        </p:txBody>
      </p:sp>
      <p:sp>
        <p:nvSpPr>
          <p:cNvPr id="103" name="TextBox 102">
            <a:extLst>
              <a:ext uri="{FF2B5EF4-FFF2-40B4-BE49-F238E27FC236}">
                <a16:creationId xmlns:a16="http://schemas.microsoft.com/office/drawing/2014/main" id="{FB9BB1D2-46FD-4904-8DFB-4EDC67B105E4}"/>
              </a:ext>
            </a:extLst>
          </p:cNvPr>
          <p:cNvSpPr txBox="1">
            <a:spLocks/>
          </p:cNvSpPr>
          <p:nvPr/>
        </p:nvSpPr>
        <p:spPr>
          <a:xfrm>
            <a:off x="5103969" y="5917299"/>
            <a:ext cx="696729" cy="184666"/>
          </a:xfrm>
          <a:prstGeom prst="rect">
            <a:avLst/>
          </a:prstGeom>
          <a:noFill/>
        </p:spPr>
        <p:txBody>
          <a:bodyPr wrap="none" lIns="0" tIns="0" rIns="0" bIns="0">
            <a:noAutofit/>
          </a:bodyPr>
          <a:lstStyle/>
          <a:p>
            <a:pPr>
              <a:spcAft>
                <a:spcPts val="100"/>
              </a:spcAft>
              <a:defRPr/>
            </a:pPr>
            <a:r>
              <a:rPr lang="en-US" sz="1400">
                <a:solidFill>
                  <a:schemeClr val="accent1"/>
                </a:solidFill>
                <a:latin typeface="+mj-lt"/>
                <a:cs typeface="Arial"/>
                <a:hlinkClick r:id="rId9" action="ppaction://hlinksldjump"/>
              </a:rPr>
              <a:t>Resources</a:t>
            </a:r>
            <a:endParaRPr lang="en-US" sz="1400">
              <a:solidFill>
                <a:schemeClr val="accent1"/>
              </a:solidFill>
              <a:latin typeface="+mj-lt"/>
              <a:cs typeface="Arial"/>
            </a:endParaRPr>
          </a:p>
        </p:txBody>
      </p:sp>
      <p:sp>
        <p:nvSpPr>
          <p:cNvPr id="134" name="Rectangle: Top Corners Rounded 133">
            <a:hlinkClick r:id="rId9" action="ppaction://hlinksldjump"/>
            <a:extLst>
              <a:ext uri="{FF2B5EF4-FFF2-40B4-BE49-F238E27FC236}">
                <a16:creationId xmlns:a16="http://schemas.microsoft.com/office/drawing/2014/main" id="{5A1A51E5-7582-41D7-8692-EE27325DFC56}"/>
              </a:ext>
            </a:extLst>
          </p:cNvPr>
          <p:cNvSpPr/>
          <p:nvPr/>
        </p:nvSpPr>
        <p:spPr bwMode="auto">
          <a:xfrm rot="5400000">
            <a:off x="5063473" y="5370381"/>
            <a:ext cx="268251" cy="654135"/>
          </a:xfrm>
          <a:prstGeom prst="round2SameRect">
            <a:avLst>
              <a:gd name="adj1" fmla="val 4359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itchFamily="34" charset="0"/>
              </a:rPr>
              <a:t>07</a:t>
            </a:r>
          </a:p>
        </p:txBody>
      </p:sp>
      <p:sp>
        <p:nvSpPr>
          <p:cNvPr id="3" name="TextBox 2">
            <a:extLst>
              <a:ext uri="{FF2B5EF4-FFF2-40B4-BE49-F238E27FC236}">
                <a16:creationId xmlns:a16="http://schemas.microsoft.com/office/drawing/2014/main" id="{8137D2EC-32E6-4694-834A-5148FB97D943}"/>
              </a:ext>
            </a:extLst>
          </p:cNvPr>
          <p:cNvSpPr txBox="1">
            <a:spLocks/>
          </p:cNvSpPr>
          <p:nvPr/>
        </p:nvSpPr>
        <p:spPr>
          <a:xfrm>
            <a:off x="5103969" y="2668208"/>
            <a:ext cx="2677784" cy="1172116"/>
          </a:xfrm>
          <a:prstGeom prst="rect">
            <a:avLst/>
          </a:prstGeom>
          <a:noFill/>
        </p:spPr>
        <p:txBody>
          <a:bodyPr wrap="none" lIns="0" tIns="0" rIns="0" bIns="0">
            <a:noAutofit/>
          </a:bodyPr>
          <a:lstStyle/>
          <a:p>
            <a:pPr>
              <a:spcAft>
                <a:spcPts val="100"/>
              </a:spcAft>
              <a:defRPr/>
            </a:pPr>
            <a:r>
              <a:rPr lang="en-US" sz="1400" u="sng">
                <a:solidFill>
                  <a:schemeClr val="accent1"/>
                </a:solidFill>
                <a:latin typeface="+mj-lt"/>
                <a:cs typeface="Arial"/>
              </a:rPr>
              <a:t>Train and Adopt</a:t>
            </a:r>
            <a:r>
              <a:rPr lang="en-US" sz="1400">
                <a:solidFill>
                  <a:schemeClr val="accent1"/>
                </a:solidFill>
                <a:latin typeface="Segoe UI Semibold"/>
                <a:cs typeface="Arial"/>
              </a:rPr>
              <a:t> </a:t>
            </a:r>
          </a:p>
          <a:p>
            <a:pPr marL="269875" indent="-171450">
              <a:spcAft>
                <a:spcPts val="100"/>
              </a:spcAft>
              <a:buFont typeface="Verdana" panose="020B0604030504040204" pitchFamily="34" charset="0"/>
              <a:buChar char="-"/>
              <a:defRPr/>
            </a:pPr>
            <a:r>
              <a:rPr lang="en-US" sz="1200">
                <a:cs typeface="Arial"/>
              </a:rPr>
              <a:t>Build training strategy</a:t>
            </a:r>
          </a:p>
          <a:p>
            <a:pPr marL="269875" indent="-171450">
              <a:spcAft>
                <a:spcPts val="100"/>
              </a:spcAft>
              <a:buFont typeface="Verdana" panose="020B0604030504040204" pitchFamily="34" charset="0"/>
              <a:buChar char="-"/>
              <a:defRPr/>
            </a:pPr>
            <a:r>
              <a:rPr lang="en-US" sz="1200">
                <a:cs typeface="Arial"/>
              </a:rPr>
              <a:t>Run pilot</a:t>
            </a:r>
          </a:p>
          <a:p>
            <a:pPr marL="269875" indent="-171450">
              <a:spcAft>
                <a:spcPts val="100"/>
              </a:spcAft>
              <a:buFont typeface="Verdana" panose="020B0604030504040204" pitchFamily="34" charset="0"/>
              <a:buChar char="-"/>
              <a:defRPr/>
            </a:pPr>
            <a:r>
              <a:rPr lang="en-US" sz="1200">
                <a:cs typeface="Arial"/>
              </a:rPr>
              <a:t>Drive a learning culture</a:t>
            </a:r>
          </a:p>
          <a:p>
            <a:pPr marL="269875" indent="-171450">
              <a:spcAft>
                <a:spcPts val="100"/>
              </a:spcAft>
              <a:buFont typeface="Verdana" panose="020B0604030504040204" pitchFamily="34" charset="0"/>
              <a:buChar char="-"/>
              <a:defRPr/>
            </a:pPr>
            <a:r>
              <a:rPr lang="en-US" sz="1200">
                <a:cs typeface="Arial"/>
              </a:rPr>
              <a:t>Build awareness</a:t>
            </a:r>
          </a:p>
          <a:p>
            <a:pPr marL="254000" indent="-155575">
              <a:spcAft>
                <a:spcPts val="100"/>
              </a:spcAft>
              <a:buFont typeface="Arial" panose="020B0604020202020204" pitchFamily="34" charset="0"/>
              <a:buChar char="•"/>
              <a:defRPr/>
            </a:pPr>
            <a:endParaRPr lang="en-US" sz="1200">
              <a:cs typeface="Arial"/>
            </a:endParaRPr>
          </a:p>
        </p:txBody>
      </p:sp>
      <p:sp>
        <p:nvSpPr>
          <p:cNvPr id="4" name="Rectangle: Top Corners Rounded 3">
            <a:hlinkClick r:id="rId8" action="ppaction://hlinksldjump"/>
            <a:extLst>
              <a:ext uri="{FF2B5EF4-FFF2-40B4-BE49-F238E27FC236}">
                <a16:creationId xmlns:a16="http://schemas.microsoft.com/office/drawing/2014/main" id="{68A946AC-AEE1-4799-B7D2-94062EB3A2A4}"/>
              </a:ext>
            </a:extLst>
          </p:cNvPr>
          <p:cNvSpPr/>
          <p:nvPr/>
        </p:nvSpPr>
        <p:spPr bwMode="auto">
          <a:xfrm rot="5400000">
            <a:off x="5063473" y="2121289"/>
            <a:ext cx="268251" cy="654135"/>
          </a:xfrm>
          <a:prstGeom prst="round2SameRect">
            <a:avLst>
              <a:gd name="adj1" fmla="val 4359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itchFamily="34" charset="0"/>
              </a:rPr>
              <a:t>05</a:t>
            </a:r>
          </a:p>
        </p:txBody>
      </p:sp>
    </p:spTree>
    <p:extLst>
      <p:ext uri="{BB962C8B-B14F-4D97-AF65-F5344CB8AC3E}">
        <p14:creationId xmlns:p14="http://schemas.microsoft.com/office/powerpoint/2010/main" val="34323224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780E57C-99A1-4F7F-AD3D-361FF48060A1}"/>
              </a:ext>
            </a:extLst>
          </p:cNvPr>
          <p:cNvSpPr/>
          <p:nvPr/>
        </p:nvSpPr>
        <p:spPr bwMode="auto">
          <a:xfrm>
            <a:off x="588263" y="1582057"/>
            <a:ext cx="2445223" cy="468366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14400" rtl="0" eaLnBrk="1" fontAlgn="auto" latinLnBrk="0" hangingPunct="1">
              <a:spcBef>
                <a:spcPts val="0"/>
              </a:spcBef>
              <a:spcAft>
                <a:spcPts val="800"/>
              </a:spcAft>
              <a:buClrTx/>
              <a:buSzTx/>
              <a:buFontTx/>
              <a:buNone/>
              <a:tabLst/>
              <a:defRPr/>
            </a:pPr>
            <a:endParaRPr kumimoji="0" lang="en-US" sz="2000" i="0" u="none" strike="noStrike" kern="1200" cap="none" normalizeH="0" baseline="0" noProof="0">
              <a:ln>
                <a:noFill/>
              </a:ln>
              <a:solidFill>
                <a:schemeClr val="accent1"/>
              </a:solidFill>
              <a:effectLst/>
              <a:uLnTx/>
              <a:uFillTx/>
              <a:latin typeface="+mj-lt"/>
              <a:ea typeface="+mn-ea"/>
              <a:cs typeface="+mn-cs"/>
            </a:endParaRPr>
          </a:p>
        </p:txBody>
      </p:sp>
      <p:sp>
        <p:nvSpPr>
          <p:cNvPr id="9" name="Rectangle: Top Corners Rounded 8">
            <a:extLst>
              <a:ext uri="{FF2B5EF4-FFF2-40B4-BE49-F238E27FC236}">
                <a16:creationId xmlns:a16="http://schemas.microsoft.com/office/drawing/2014/main" id="{AAE5683E-63B5-4628-B831-0CC448FE12CB}"/>
              </a:ext>
            </a:extLst>
          </p:cNvPr>
          <p:cNvSpPr/>
          <p:nvPr/>
        </p:nvSpPr>
        <p:spPr bwMode="auto">
          <a:xfrm rot="5400000">
            <a:off x="1507873" y="807084"/>
            <a:ext cx="396874" cy="2242187"/>
          </a:xfrm>
          <a:prstGeom prst="round2Same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800"/>
              </a:spcAft>
              <a:buClrTx/>
              <a:buSzTx/>
              <a:buFontTx/>
              <a:buNone/>
              <a:tabLst/>
              <a:defRPr/>
            </a:pPr>
            <a:r>
              <a:rPr kumimoji="0" lang="en-US" sz="1600" i="0" u="none" strike="noStrike" kern="1200" cap="none" normalizeH="0" baseline="0" noProof="0">
                <a:ln>
                  <a:noFill/>
                </a:ln>
                <a:solidFill>
                  <a:schemeClr val="bg1"/>
                </a:solidFill>
                <a:effectLst/>
                <a:uLnTx/>
                <a:uFillTx/>
                <a:latin typeface="+mj-lt"/>
                <a:ea typeface="+mn-ea"/>
                <a:cs typeface="+mn-cs"/>
              </a:rPr>
              <a:t>All scenarios</a:t>
            </a:r>
          </a:p>
        </p:txBody>
      </p:sp>
      <p:grpSp>
        <p:nvGrpSpPr>
          <p:cNvPr id="45" name="Group 44">
            <a:extLst>
              <a:ext uri="{FF2B5EF4-FFF2-40B4-BE49-F238E27FC236}">
                <a16:creationId xmlns:a16="http://schemas.microsoft.com/office/drawing/2014/main" id="{279700BB-32DB-4BFD-993F-8EFE85E06E1B}"/>
              </a:ext>
            </a:extLst>
          </p:cNvPr>
          <p:cNvGrpSpPr/>
          <p:nvPr/>
        </p:nvGrpSpPr>
        <p:grpSpPr>
          <a:xfrm>
            <a:off x="9640453" y="6426917"/>
            <a:ext cx="2215299" cy="399206"/>
            <a:chOff x="9564253" y="6426917"/>
            <a:chExt cx="2215299" cy="399206"/>
          </a:xfrm>
        </p:grpSpPr>
        <p:sp>
          <p:nvSpPr>
            <p:cNvPr id="207" name="Rectangle 206">
              <a:extLst>
                <a:ext uri="{FF2B5EF4-FFF2-40B4-BE49-F238E27FC236}">
                  <a16:creationId xmlns:a16="http://schemas.microsoft.com/office/drawing/2014/main" id="{95D763E4-5EFF-47DF-94B5-1A0349226830}"/>
                </a:ext>
              </a:extLst>
            </p:cNvPr>
            <p:cNvSpPr/>
            <p:nvPr/>
          </p:nvSpPr>
          <p:spPr bwMode="auto">
            <a:xfrm>
              <a:off x="9564253" y="6443738"/>
              <a:ext cx="2215299" cy="365565"/>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800"/>
                </a:spcAft>
                <a:buClrTx/>
                <a:buSzTx/>
                <a:buFontTx/>
                <a:buNone/>
                <a:tabLst/>
                <a:defRPr/>
              </a:pPr>
              <a:endParaRPr kumimoji="0" lang="en-US" sz="1600" b="0" i="0" u="none" strike="noStrike" kern="1200" cap="none" normalizeH="0" baseline="0" noProof="0">
                <a:ln>
                  <a:noFill/>
                </a:ln>
                <a:solidFill>
                  <a:srgbClr val="282828">
                    <a:lumMod val="75000"/>
                    <a:lumOff val="25000"/>
                  </a:srgbClr>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09" name="Oval 208">
              <a:extLst>
                <a:ext uri="{FF2B5EF4-FFF2-40B4-BE49-F238E27FC236}">
                  <a16:creationId xmlns:a16="http://schemas.microsoft.com/office/drawing/2014/main" id="{7BF635B9-B0D3-46F1-9E65-3B191C815169}"/>
                </a:ext>
              </a:extLst>
            </p:cNvPr>
            <p:cNvSpPr/>
            <p:nvPr/>
          </p:nvSpPr>
          <p:spPr bwMode="auto">
            <a:xfrm>
              <a:off x="10201926" y="6536453"/>
              <a:ext cx="179521" cy="180134"/>
            </a:xfrm>
            <a:prstGeom prst="ellipse">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1" name="Rectangle 210">
              <a:extLst>
                <a:ext uri="{FF2B5EF4-FFF2-40B4-BE49-F238E27FC236}">
                  <a16:creationId xmlns:a16="http://schemas.microsoft.com/office/drawing/2014/main" id="{FA57946D-E5C8-4619-954B-C30B25C7AA4B}"/>
                </a:ext>
              </a:extLst>
            </p:cNvPr>
            <p:cNvSpPr/>
            <p:nvPr/>
          </p:nvSpPr>
          <p:spPr bwMode="auto">
            <a:xfrm>
              <a:off x="10433027" y="6465092"/>
              <a:ext cx="523595" cy="3228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spcBef>
                  <a:spcPts val="0"/>
                </a:spcBef>
                <a:spcAft>
                  <a:spcPts val="800"/>
                </a:spcAft>
                <a:buClrTx/>
                <a:buSzTx/>
                <a:buFontTx/>
                <a:buNone/>
                <a:tabLst/>
                <a:defRPr/>
              </a:pPr>
              <a:r>
                <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rPr>
                <a:t>User</a:t>
              </a:r>
              <a:endParaRPr kumimoji="0" lang="en-US" sz="1200" b="0" i="0" u="none" strike="noStrike" kern="1200" cap="none" normalizeH="0" baseline="0" noProof="0">
                <a:ln>
                  <a:noFill/>
                </a:ln>
                <a:solidFill>
                  <a:srgbClr val="282828">
                    <a:lumMod val="75000"/>
                    <a:lumOff val="25000"/>
                  </a:srgbClr>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3" name="Rectangle 212">
              <a:extLst>
                <a:ext uri="{FF2B5EF4-FFF2-40B4-BE49-F238E27FC236}">
                  <a16:creationId xmlns:a16="http://schemas.microsoft.com/office/drawing/2014/main" id="{442969A2-5271-4A60-9F23-A4B82E82DE78}"/>
                </a:ext>
              </a:extLst>
            </p:cNvPr>
            <p:cNvSpPr/>
            <p:nvPr/>
          </p:nvSpPr>
          <p:spPr bwMode="auto">
            <a:xfrm>
              <a:off x="11089556" y="6465092"/>
              <a:ext cx="630951" cy="3228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spcBef>
                  <a:spcPts val="0"/>
                </a:spcBef>
                <a:spcAft>
                  <a:spcPts val="800"/>
                </a:spcAft>
                <a:buClrTx/>
                <a:buSzTx/>
                <a:buFontTx/>
                <a:buNone/>
                <a:tabLst/>
                <a:defRPr/>
              </a:pPr>
              <a:r>
                <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rPr>
                <a:t>Admin</a:t>
              </a:r>
              <a:endParaRPr kumimoji="0" lang="en-US" sz="1200" b="0" i="0" u="none" strike="noStrike" kern="1200" cap="none" normalizeH="0" baseline="0" noProof="0">
                <a:ln>
                  <a:noFill/>
                </a:ln>
                <a:solidFill>
                  <a:srgbClr val="282828">
                    <a:lumMod val="75000"/>
                    <a:lumOff val="25000"/>
                  </a:srgbClr>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5" name="Oval 214">
              <a:extLst>
                <a:ext uri="{FF2B5EF4-FFF2-40B4-BE49-F238E27FC236}">
                  <a16:creationId xmlns:a16="http://schemas.microsoft.com/office/drawing/2014/main" id="{27E7C9AC-777A-4C6E-82B9-294A7A9B2EC3}"/>
                </a:ext>
              </a:extLst>
            </p:cNvPr>
            <p:cNvSpPr/>
            <p:nvPr/>
          </p:nvSpPr>
          <p:spPr bwMode="auto">
            <a:xfrm>
              <a:off x="10846854" y="6536453"/>
              <a:ext cx="179521" cy="18013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algn="ctr"/>
              <a:endParaRPr lang="en-US" sz="1200">
                <a:solidFill>
                  <a:srgbClr val="282828"/>
                </a:solidFill>
                <a:latin typeface="Segoe UI" panose="020B0502040204020203" pitchFamily="34" charset="0"/>
                <a:cs typeface="Times New Roman" panose="02020603050405020304" pitchFamily="18" charset="0"/>
              </a:endParaRPr>
            </a:p>
          </p:txBody>
        </p:sp>
        <p:sp>
          <p:nvSpPr>
            <p:cNvPr id="217" name="Rectangle 216">
              <a:extLst>
                <a:ext uri="{FF2B5EF4-FFF2-40B4-BE49-F238E27FC236}">
                  <a16:creationId xmlns:a16="http://schemas.microsoft.com/office/drawing/2014/main" id="{2A1A074E-2C51-4695-B37D-614BBBFC4580}"/>
                </a:ext>
              </a:extLst>
            </p:cNvPr>
            <p:cNvSpPr/>
            <p:nvPr/>
          </p:nvSpPr>
          <p:spPr bwMode="auto">
            <a:xfrm>
              <a:off x="9773923" y="6426917"/>
              <a:ext cx="494027" cy="39920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182880" bIns="146304" numCol="1" spcCol="0" rtlCol="0" fromWordArt="0" anchor="ctr" anchorCtr="0" forceAA="0" compatLnSpc="1">
              <a:prstTxWarp prst="textNoShape">
                <a:avLst/>
              </a:prstTxWarp>
              <a:noAutofit/>
            </a:bodyPr>
            <a:lstStyle/>
            <a:p>
              <a:pPr marL="0" marR="0" lvl="0" indent="0" algn="r" defTabSz="914400" rtl="0" eaLnBrk="1" fontAlgn="auto" latinLnBrk="0" hangingPunct="1">
                <a:spcBef>
                  <a:spcPts val="0"/>
                </a:spcBef>
                <a:spcAft>
                  <a:spcPts val="800"/>
                </a:spcAft>
                <a:buClrTx/>
                <a:buSzTx/>
                <a:buFontTx/>
                <a:buNone/>
                <a:tabLst/>
                <a:defRPr/>
              </a:pPr>
              <a:r>
                <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rPr>
                <a:t>Key:</a:t>
              </a:r>
              <a:endParaRPr kumimoji="0" lang="en-US" sz="1200" b="0" i="0" u="none" strike="noStrike" kern="1200" cap="none" normalizeH="0" baseline="0" noProof="0">
                <a:ln>
                  <a:noFill/>
                </a:ln>
                <a:solidFill>
                  <a:srgbClr val="282828">
                    <a:lumMod val="75000"/>
                    <a:lumOff val="25000"/>
                  </a:srgbClr>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grpSp>
      <p:sp>
        <p:nvSpPr>
          <p:cNvPr id="205" name="Rectangle 204">
            <a:extLst>
              <a:ext uri="{FF2B5EF4-FFF2-40B4-BE49-F238E27FC236}">
                <a16:creationId xmlns:a16="http://schemas.microsoft.com/office/drawing/2014/main" id="{2858A7A8-8872-4297-BB6C-21531E07218F}"/>
              </a:ext>
            </a:extLst>
          </p:cNvPr>
          <p:cNvSpPr/>
          <p:nvPr/>
        </p:nvSpPr>
        <p:spPr bwMode="auto">
          <a:xfrm>
            <a:off x="10542713" y="4464312"/>
            <a:ext cx="1066824" cy="1804726"/>
          </a:xfrm>
          <a:prstGeom prst="rect">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rgbClr val="FF0000"/>
                </a:solidFill>
                <a:effectLst/>
                <a:uLnTx/>
                <a:uFillTx/>
                <a:latin typeface="Segoe UI" panose="020B0502040204020203" pitchFamily="34" charset="0"/>
                <a:ea typeface="+mn-ea"/>
                <a:cs typeface="Times New Roman" panose="02020603050405020304" pitchFamily="18" charset="0"/>
                <a:hlinkClick r:id="rId3"/>
              </a:rPr>
              <a:t>Click here</a:t>
            </a:r>
            <a:endParaRPr kumimoji="0" lang="en-US" sz="1400" b="0" i="0" u="none" strike="noStrike" kern="1200" cap="none" normalizeH="0" baseline="0" noProof="0">
              <a:ln>
                <a:noFill/>
              </a:ln>
              <a:solidFill>
                <a:srgbClr val="FF0000"/>
              </a:solidFill>
              <a:effectLst/>
              <a:uLnTx/>
              <a:uFillTx/>
              <a:latin typeface="Segoe UI" panose="020B0502040204020203" pitchFamily="34" charset="0"/>
              <a:ea typeface="+mn-ea"/>
              <a:cs typeface="Times New Roman" panose="02020603050405020304" pitchFamily="18" charset="0"/>
            </a:endParaRPr>
          </a:p>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for more info on configuring the app</a:t>
            </a:r>
          </a:p>
        </p:txBody>
      </p:sp>
      <p:sp>
        <p:nvSpPr>
          <p:cNvPr id="285" name="Rectangle 284">
            <a:extLst>
              <a:ext uri="{FF2B5EF4-FFF2-40B4-BE49-F238E27FC236}">
                <a16:creationId xmlns:a16="http://schemas.microsoft.com/office/drawing/2014/main" id="{CF084888-8905-404E-AC95-B282154F6D4C}"/>
              </a:ext>
            </a:extLst>
          </p:cNvPr>
          <p:cNvSpPr/>
          <p:nvPr/>
        </p:nvSpPr>
        <p:spPr bwMode="auto">
          <a:xfrm>
            <a:off x="10542713" y="1582057"/>
            <a:ext cx="1066824" cy="2601548"/>
          </a:xfrm>
          <a:prstGeom prst="rect">
            <a:avLst/>
          </a:prstGeom>
          <a:noFill/>
          <a:ln>
            <a:solidFill>
              <a:schemeClr val="bg1">
                <a:lumMod val="6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rgbClr val="FF0000"/>
                </a:solidFill>
                <a:effectLst/>
                <a:uLnTx/>
                <a:uFillTx/>
                <a:latin typeface="Segoe UI" panose="020B0502040204020203" pitchFamily="34" charset="0"/>
                <a:ea typeface="Times New Roman" panose="02020603050405020304" pitchFamily="18" charset="0"/>
                <a:cs typeface="Times New Roman" panose="02020603050405020304" pitchFamily="18" charset="0"/>
                <a:hlinkClick r:id="rId4"/>
              </a:rPr>
              <a:t>Click here </a:t>
            </a:r>
            <a:endParaRPr kumimoji="0" lang="en-US" sz="1400" b="0" i="0" u="none" strike="noStrike" kern="1200" cap="none" normalizeH="0" baseline="0" noProof="0">
              <a:ln>
                <a:noFill/>
              </a:ln>
              <a:solidFill>
                <a:srgbClr val="FF0000"/>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Times New Roman" panose="02020603050405020304" pitchFamily="18" charset="0"/>
                <a:cs typeface="Times New Roman" panose="02020603050405020304" pitchFamily="18" charset="0"/>
              </a:rPr>
              <a:t>for customer facing guidance on </a:t>
            </a:r>
          </a:p>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Times New Roman" panose="02020603050405020304" pitchFamily="18" charset="0"/>
                <a:cs typeface="Times New Roman" panose="02020603050405020304" pitchFamily="18" charset="0"/>
              </a:rPr>
              <a:t>app usage</a:t>
            </a:r>
          </a:p>
        </p:txBody>
      </p:sp>
      <p:sp>
        <p:nvSpPr>
          <p:cNvPr id="2" name="Title 1">
            <a:extLst>
              <a:ext uri="{FF2B5EF4-FFF2-40B4-BE49-F238E27FC236}">
                <a16:creationId xmlns:a16="http://schemas.microsoft.com/office/drawing/2014/main" id="{212F45F6-7C81-4FF7-B7B1-EC9D38A8D681}"/>
              </a:ext>
            </a:extLst>
          </p:cNvPr>
          <p:cNvSpPr>
            <a:spLocks noGrp="1"/>
          </p:cNvSpPr>
          <p:nvPr>
            <p:ph type="title"/>
          </p:nvPr>
        </p:nvSpPr>
        <p:spPr>
          <a:xfrm>
            <a:off x="588263" y="457200"/>
            <a:ext cx="11018520" cy="923330"/>
          </a:xfrm>
        </p:spPr>
        <p:txBody>
          <a:bodyPr/>
          <a:lstStyle/>
          <a:p>
            <a:r>
              <a:rPr lang="en-US"/>
              <a:t>Know user discovery scenarios</a:t>
            </a:r>
            <a:br>
              <a:rPr lang="en-US"/>
            </a:br>
            <a:r>
              <a:rPr lang="en-US" sz="2400" spc="0">
                <a:solidFill>
                  <a:schemeClr val="accent1"/>
                </a:solidFill>
                <a:latin typeface="+mn-lt"/>
              </a:rPr>
              <a:t>Scenario comparison: User organic discovery vs admin promotion</a:t>
            </a:r>
          </a:p>
        </p:txBody>
      </p:sp>
      <p:grpSp>
        <p:nvGrpSpPr>
          <p:cNvPr id="47" name="Group 46">
            <a:extLst>
              <a:ext uri="{FF2B5EF4-FFF2-40B4-BE49-F238E27FC236}">
                <a16:creationId xmlns:a16="http://schemas.microsoft.com/office/drawing/2014/main" id="{B5966A00-AD22-427F-AFDE-0B595909407C}"/>
              </a:ext>
            </a:extLst>
          </p:cNvPr>
          <p:cNvGrpSpPr/>
          <p:nvPr/>
        </p:nvGrpSpPr>
        <p:grpSpPr>
          <a:xfrm>
            <a:off x="794345" y="2259349"/>
            <a:ext cx="2033059" cy="3761074"/>
            <a:chOff x="794345" y="2259350"/>
            <a:chExt cx="2033059" cy="3440560"/>
          </a:xfrm>
        </p:grpSpPr>
        <p:sp>
          <p:nvSpPr>
            <p:cNvPr id="56" name="Rectangle 55">
              <a:extLst>
                <a:ext uri="{FF2B5EF4-FFF2-40B4-BE49-F238E27FC236}">
                  <a16:creationId xmlns:a16="http://schemas.microsoft.com/office/drawing/2014/main" id="{6D66DC5A-2FEE-4631-BA73-1C7537350786}"/>
                </a:ext>
              </a:extLst>
            </p:cNvPr>
            <p:cNvSpPr/>
            <p:nvPr/>
          </p:nvSpPr>
          <p:spPr bwMode="auto">
            <a:xfrm>
              <a:off x="794345" y="2259350"/>
              <a:ext cx="2033059" cy="160628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User has Microsoft or </a:t>
              </a:r>
              <a:r>
                <a:rPr kumimoji="0" lang="en-US" sz="1400" b="0" i="0" u="none" strike="noStrike" kern="1200" cap="none" normalizeH="0" baseline="0" noProof="0" err="1">
                  <a:ln>
                    <a:noFill/>
                  </a:ln>
                  <a:solidFill>
                    <a:schemeClr val="tx1"/>
                  </a:solidFill>
                  <a:effectLst/>
                  <a:uLnTx/>
                  <a:uFillTx/>
                  <a:latin typeface="Segoe UI" panose="020B0502040204020203" pitchFamily="34" charset="0"/>
                  <a:ea typeface="+mn-ea"/>
                  <a:cs typeface="Times New Roman" panose="02020603050405020304" pitchFamily="18" charset="0"/>
                </a:rPr>
                <a:t>Offic</a:t>
              </a:r>
              <a:r>
                <a:rPr lang="en-US" sz="1400">
                  <a:solidFill>
                    <a:schemeClr val="tx1"/>
                  </a:solidFill>
                  <a:latin typeface="Segoe UI" panose="020B0502040204020203" pitchFamily="34" charset="0"/>
                  <a:cs typeface="Times New Roman" panose="02020603050405020304" pitchFamily="18" charset="0"/>
                </a:rPr>
                <a:t>e/Microsoft </a:t>
              </a: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365 account</a:t>
              </a:r>
            </a:p>
          </p:txBody>
        </p:sp>
        <p:sp>
          <p:nvSpPr>
            <p:cNvPr id="57" name="Rectangle 56">
              <a:extLst>
                <a:ext uri="{FF2B5EF4-FFF2-40B4-BE49-F238E27FC236}">
                  <a16:creationId xmlns:a16="http://schemas.microsoft.com/office/drawing/2014/main" id="{8B333346-5B4B-45DC-A579-D67040F80CE1}"/>
                </a:ext>
              </a:extLst>
            </p:cNvPr>
            <p:cNvSpPr/>
            <p:nvPr/>
          </p:nvSpPr>
          <p:spPr bwMode="auto">
            <a:xfrm>
              <a:off x="794345" y="4093622"/>
              <a:ext cx="2033059" cy="1606288"/>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Admin configures</a:t>
              </a:r>
              <a:b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b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app for org</a:t>
              </a:r>
            </a:p>
          </p:txBody>
        </p:sp>
      </p:grpSp>
      <p:sp>
        <p:nvSpPr>
          <p:cNvPr id="60" name="Oval 59">
            <a:extLst>
              <a:ext uri="{FF2B5EF4-FFF2-40B4-BE49-F238E27FC236}">
                <a16:creationId xmlns:a16="http://schemas.microsoft.com/office/drawing/2014/main" id="{90480F85-8A15-4103-A1B4-121BB593CF6A}"/>
              </a:ext>
            </a:extLst>
          </p:cNvPr>
          <p:cNvSpPr/>
          <p:nvPr/>
        </p:nvSpPr>
        <p:spPr bwMode="auto">
          <a:xfrm>
            <a:off x="2623318" y="5819042"/>
            <a:ext cx="135236" cy="1356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1" name="Oval 60">
            <a:extLst>
              <a:ext uri="{FF2B5EF4-FFF2-40B4-BE49-F238E27FC236}">
                <a16:creationId xmlns:a16="http://schemas.microsoft.com/office/drawing/2014/main" id="{92DD549D-A69A-42E2-992D-977EEA6CDE72}"/>
              </a:ext>
            </a:extLst>
          </p:cNvPr>
          <p:cNvSpPr/>
          <p:nvPr/>
        </p:nvSpPr>
        <p:spPr bwMode="auto">
          <a:xfrm>
            <a:off x="2623318" y="3832639"/>
            <a:ext cx="135236" cy="135698"/>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2" name="Rectangle 61">
            <a:extLst>
              <a:ext uri="{FF2B5EF4-FFF2-40B4-BE49-F238E27FC236}">
                <a16:creationId xmlns:a16="http://schemas.microsoft.com/office/drawing/2014/main" id="{C25D7DFA-8D60-47D6-8D11-6EDE604DB080}"/>
              </a:ext>
            </a:extLst>
          </p:cNvPr>
          <p:cNvSpPr/>
          <p:nvPr/>
        </p:nvSpPr>
        <p:spPr bwMode="auto">
          <a:xfrm>
            <a:off x="3450165" y="1582090"/>
            <a:ext cx="6881189" cy="31892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800"/>
              </a:spcAft>
              <a:buClrTx/>
              <a:buSzTx/>
              <a:buFontTx/>
              <a:buNone/>
              <a:tabLst/>
              <a:defRPr/>
            </a:pPr>
            <a:r>
              <a:rPr kumimoji="0" lang="en-US" sz="1600" i="0" u="none" strike="noStrike" kern="1200" cap="none" normalizeH="0" baseline="0" noProof="0">
                <a:ln>
                  <a:noFill/>
                </a:ln>
                <a:solidFill>
                  <a:schemeClr val="bg1"/>
                </a:solidFill>
                <a:effectLst/>
                <a:uLnTx/>
                <a:uFillTx/>
                <a:latin typeface="+mj-lt"/>
                <a:ea typeface="+mn-ea"/>
                <a:cs typeface="+mn-cs"/>
              </a:rPr>
              <a:t>User organic discovery scenario</a:t>
            </a:r>
          </a:p>
        </p:txBody>
      </p:sp>
      <p:sp>
        <p:nvSpPr>
          <p:cNvPr id="63" name="Rectangle 62">
            <a:extLst>
              <a:ext uri="{FF2B5EF4-FFF2-40B4-BE49-F238E27FC236}">
                <a16:creationId xmlns:a16="http://schemas.microsoft.com/office/drawing/2014/main" id="{CE6B966F-A29B-4101-B5EC-7B881F38A1B7}"/>
              </a:ext>
            </a:extLst>
          </p:cNvPr>
          <p:cNvSpPr/>
          <p:nvPr/>
        </p:nvSpPr>
        <p:spPr bwMode="auto">
          <a:xfrm>
            <a:off x="3450164" y="5945678"/>
            <a:ext cx="6881189" cy="32004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800"/>
              </a:spcAft>
              <a:buClrTx/>
              <a:buSzTx/>
              <a:buFontTx/>
              <a:buNone/>
              <a:tabLst/>
              <a:defRPr/>
            </a:pPr>
            <a:r>
              <a:rPr kumimoji="0" lang="en-US" sz="1600" i="0" u="none" strike="noStrike" kern="1200" cap="none" normalizeH="0" baseline="0" noProof="0">
                <a:ln>
                  <a:noFill/>
                </a:ln>
                <a:solidFill>
                  <a:schemeClr val="bg1"/>
                </a:solidFill>
                <a:effectLst/>
                <a:uLnTx/>
                <a:uFillTx/>
                <a:latin typeface="+mj-lt"/>
                <a:ea typeface="+mn-ea"/>
                <a:cs typeface="+mn-cs"/>
              </a:rPr>
              <a:t>Admin promotion scenario</a:t>
            </a:r>
          </a:p>
        </p:txBody>
      </p:sp>
      <p:cxnSp>
        <p:nvCxnSpPr>
          <p:cNvPr id="92" name="Straight Connector 91">
            <a:extLst>
              <a:ext uri="{FF2B5EF4-FFF2-40B4-BE49-F238E27FC236}">
                <a16:creationId xmlns:a16="http://schemas.microsoft.com/office/drawing/2014/main" id="{3694BDF9-FCA9-4576-A17B-FE385CD6C052}"/>
              </a:ext>
            </a:extLst>
          </p:cNvPr>
          <p:cNvCxnSpPr>
            <a:cxnSpLocks/>
          </p:cNvCxnSpPr>
          <p:nvPr/>
        </p:nvCxnSpPr>
        <p:spPr>
          <a:xfrm>
            <a:off x="3493143" y="4334267"/>
            <a:ext cx="8116245" cy="0"/>
          </a:xfrm>
          <a:prstGeom prst="line">
            <a:avLst/>
          </a:prstGeom>
          <a:noFill/>
          <a:ln w="6350">
            <a:solidFill>
              <a:schemeClr val="bg1">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93" name="Rectangle 92">
            <a:extLst>
              <a:ext uri="{FF2B5EF4-FFF2-40B4-BE49-F238E27FC236}">
                <a16:creationId xmlns:a16="http://schemas.microsoft.com/office/drawing/2014/main" id="{9B3608C9-66A1-4F9E-B0FA-7FE452A04E29}"/>
              </a:ext>
            </a:extLst>
          </p:cNvPr>
          <p:cNvSpPr/>
          <p:nvPr/>
        </p:nvSpPr>
        <p:spPr bwMode="auto">
          <a:xfrm>
            <a:off x="5214056" y="4497533"/>
            <a:ext cx="1591398" cy="11985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Prompts user discovery</a:t>
            </a:r>
          </a:p>
        </p:txBody>
      </p:sp>
      <p:sp>
        <p:nvSpPr>
          <p:cNvPr id="94" name="Rectangle 93">
            <a:extLst>
              <a:ext uri="{FF2B5EF4-FFF2-40B4-BE49-F238E27FC236}">
                <a16:creationId xmlns:a16="http://schemas.microsoft.com/office/drawing/2014/main" id="{6A0B4B6F-0FE2-4BDB-9C18-50F1B9FC5651}"/>
              </a:ext>
            </a:extLst>
          </p:cNvPr>
          <p:cNvSpPr/>
          <p:nvPr/>
        </p:nvSpPr>
        <p:spPr bwMode="auto">
          <a:xfrm>
            <a:off x="6977946" y="4497533"/>
            <a:ext cx="1591398" cy="11985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Admin features specific content for skills learning</a:t>
            </a:r>
          </a:p>
        </p:txBody>
      </p:sp>
      <p:sp>
        <p:nvSpPr>
          <p:cNvPr id="95" name="Rectangle 94">
            <a:extLst>
              <a:ext uri="{FF2B5EF4-FFF2-40B4-BE49-F238E27FC236}">
                <a16:creationId xmlns:a16="http://schemas.microsoft.com/office/drawing/2014/main" id="{A6E53ECE-A390-483A-9D29-939FF3F21433}"/>
              </a:ext>
            </a:extLst>
          </p:cNvPr>
          <p:cNvSpPr/>
          <p:nvPr/>
        </p:nvSpPr>
        <p:spPr bwMode="auto">
          <a:xfrm>
            <a:off x="3450166" y="2151718"/>
            <a:ext cx="1591398" cy="9778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80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Discovers app through search</a:t>
            </a:r>
          </a:p>
        </p:txBody>
      </p:sp>
      <p:sp>
        <p:nvSpPr>
          <p:cNvPr id="96" name="Rectangle 95">
            <a:extLst>
              <a:ext uri="{FF2B5EF4-FFF2-40B4-BE49-F238E27FC236}">
                <a16:creationId xmlns:a16="http://schemas.microsoft.com/office/drawing/2014/main" id="{C28B88DD-48BA-4760-8FF6-748C409D1379}"/>
              </a:ext>
            </a:extLst>
          </p:cNvPr>
          <p:cNvSpPr/>
          <p:nvPr/>
        </p:nvSpPr>
        <p:spPr bwMode="auto">
          <a:xfrm>
            <a:off x="6977946" y="2705660"/>
            <a:ext cx="1591398" cy="9778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User consumes content in Viva Learning app</a:t>
            </a:r>
          </a:p>
        </p:txBody>
      </p:sp>
      <p:sp>
        <p:nvSpPr>
          <p:cNvPr id="97" name="Rectangle 96">
            <a:extLst>
              <a:ext uri="{FF2B5EF4-FFF2-40B4-BE49-F238E27FC236}">
                <a16:creationId xmlns:a16="http://schemas.microsoft.com/office/drawing/2014/main" id="{6836411E-E10E-4036-AE9F-B49534273874}"/>
              </a:ext>
            </a:extLst>
          </p:cNvPr>
          <p:cNvSpPr/>
          <p:nvPr/>
        </p:nvSpPr>
        <p:spPr bwMode="auto">
          <a:xfrm>
            <a:off x="8741835" y="2705660"/>
            <a:ext cx="1591398" cy="9778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User shares content with other users via Teams chat</a:t>
            </a:r>
          </a:p>
        </p:txBody>
      </p:sp>
      <p:sp>
        <p:nvSpPr>
          <p:cNvPr id="98" name="Rectangle 97">
            <a:extLst>
              <a:ext uri="{FF2B5EF4-FFF2-40B4-BE49-F238E27FC236}">
                <a16:creationId xmlns:a16="http://schemas.microsoft.com/office/drawing/2014/main" id="{71678BAB-B995-4836-B387-C26313FAF3D1}"/>
              </a:ext>
            </a:extLst>
          </p:cNvPr>
          <p:cNvSpPr/>
          <p:nvPr/>
        </p:nvSpPr>
        <p:spPr bwMode="auto">
          <a:xfrm>
            <a:off x="3450166" y="3259603"/>
            <a:ext cx="1591398" cy="9778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Discovers app in </a:t>
            </a:r>
          </a:p>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left nav rail</a:t>
            </a:r>
          </a:p>
        </p:txBody>
      </p:sp>
      <p:cxnSp>
        <p:nvCxnSpPr>
          <p:cNvPr id="99" name="Straight Arrow Connector 98">
            <a:extLst>
              <a:ext uri="{FF2B5EF4-FFF2-40B4-BE49-F238E27FC236}">
                <a16:creationId xmlns:a16="http://schemas.microsoft.com/office/drawing/2014/main" id="{C47D6CF8-2B08-4D6D-A977-5B4692D024B9}"/>
              </a:ext>
            </a:extLst>
          </p:cNvPr>
          <p:cNvCxnSpPr>
            <a:cxnSpLocks/>
            <a:stCxn id="103" idx="3"/>
            <a:endCxn id="93" idx="1"/>
          </p:cNvCxnSpPr>
          <p:nvPr/>
        </p:nvCxnSpPr>
        <p:spPr>
          <a:xfrm>
            <a:off x="5041564" y="5096795"/>
            <a:ext cx="172492" cy="0"/>
          </a:xfrm>
          <a:prstGeom prst="straightConnector1">
            <a:avLst/>
          </a:prstGeom>
          <a:noFill/>
          <a:ln w="6350">
            <a:solidFill>
              <a:schemeClr val="bg1">
                <a:lumMod val="65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00" name="Straight Arrow Connector 99">
            <a:extLst>
              <a:ext uri="{FF2B5EF4-FFF2-40B4-BE49-F238E27FC236}">
                <a16:creationId xmlns:a16="http://schemas.microsoft.com/office/drawing/2014/main" id="{7F90B546-F65C-45E5-B665-B25A5048DED6}"/>
              </a:ext>
            </a:extLst>
          </p:cNvPr>
          <p:cNvCxnSpPr>
            <a:cxnSpLocks/>
            <a:stCxn id="95" idx="3"/>
            <a:endCxn id="114" idx="1"/>
          </p:cNvCxnSpPr>
          <p:nvPr/>
        </p:nvCxnSpPr>
        <p:spPr>
          <a:xfrm>
            <a:off x="5041564" y="2640639"/>
            <a:ext cx="172492" cy="553942"/>
          </a:xfrm>
          <a:prstGeom prst="bentConnector3">
            <a:avLst>
              <a:gd name="adj1" fmla="val 31593"/>
            </a:avLst>
          </a:prstGeom>
          <a:noFill/>
          <a:ln w="6350">
            <a:solidFill>
              <a:schemeClr val="bg1">
                <a:lumMod val="65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02" name="Connector: Elbow 101">
            <a:extLst>
              <a:ext uri="{FF2B5EF4-FFF2-40B4-BE49-F238E27FC236}">
                <a16:creationId xmlns:a16="http://schemas.microsoft.com/office/drawing/2014/main" id="{E19DBF90-F8A7-4373-B6B6-A6341F955D1A}"/>
              </a:ext>
            </a:extLst>
          </p:cNvPr>
          <p:cNvCxnSpPr>
            <a:cxnSpLocks/>
            <a:stCxn id="98" idx="3"/>
            <a:endCxn id="114" idx="1"/>
          </p:cNvCxnSpPr>
          <p:nvPr/>
        </p:nvCxnSpPr>
        <p:spPr>
          <a:xfrm flipV="1">
            <a:off x="5041564" y="3194581"/>
            <a:ext cx="172492" cy="553943"/>
          </a:xfrm>
          <a:prstGeom prst="bentConnector3">
            <a:avLst>
              <a:gd name="adj1" fmla="val 31595"/>
            </a:avLst>
          </a:prstGeom>
          <a:noFill/>
          <a:ln w="6350">
            <a:solidFill>
              <a:schemeClr val="bg1">
                <a:lumMod val="65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03" name="Rectangle 102">
            <a:extLst>
              <a:ext uri="{FF2B5EF4-FFF2-40B4-BE49-F238E27FC236}">
                <a16:creationId xmlns:a16="http://schemas.microsoft.com/office/drawing/2014/main" id="{1AD03614-41C6-4C9D-B8C0-56FE8A56C8A1}"/>
              </a:ext>
            </a:extLst>
          </p:cNvPr>
          <p:cNvSpPr/>
          <p:nvPr/>
        </p:nvSpPr>
        <p:spPr bwMode="auto">
          <a:xfrm>
            <a:off x="3450166" y="4497533"/>
            <a:ext cx="1591398" cy="119852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Admin pins app </a:t>
            </a:r>
          </a:p>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to left nav rail </a:t>
            </a:r>
          </a:p>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for all users</a:t>
            </a:r>
          </a:p>
        </p:txBody>
      </p:sp>
      <p:cxnSp>
        <p:nvCxnSpPr>
          <p:cNvPr id="104" name="Connector: Elbow 103">
            <a:extLst>
              <a:ext uri="{FF2B5EF4-FFF2-40B4-BE49-F238E27FC236}">
                <a16:creationId xmlns:a16="http://schemas.microsoft.com/office/drawing/2014/main" id="{8C94AEC9-9C28-4D46-892F-89CE01BB7064}"/>
              </a:ext>
            </a:extLst>
          </p:cNvPr>
          <p:cNvCxnSpPr>
            <a:cxnSpLocks/>
          </p:cNvCxnSpPr>
          <p:nvPr/>
        </p:nvCxnSpPr>
        <p:spPr>
          <a:xfrm rot="10800000" flipV="1">
            <a:off x="3393082" y="2640639"/>
            <a:ext cx="12700" cy="2456156"/>
          </a:xfrm>
          <a:prstGeom prst="bentConnector3">
            <a:avLst>
              <a:gd name="adj1" fmla="val 1800000"/>
            </a:avLst>
          </a:prstGeom>
          <a:noFill/>
          <a:ln w="6350">
            <a:solidFill>
              <a:schemeClr val="bg1">
                <a:lumMod val="65000"/>
              </a:schemeClr>
            </a:solidFill>
            <a:prstDash val="solid"/>
            <a:headEnd type="triangl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06" name="Straight Arrow Connector 105">
            <a:extLst>
              <a:ext uri="{FF2B5EF4-FFF2-40B4-BE49-F238E27FC236}">
                <a16:creationId xmlns:a16="http://schemas.microsoft.com/office/drawing/2014/main" id="{12267672-0F5F-4A6F-84E2-1D145900ECAF}"/>
              </a:ext>
            </a:extLst>
          </p:cNvPr>
          <p:cNvCxnSpPr>
            <a:cxnSpLocks/>
            <a:stCxn id="93" idx="3"/>
            <a:endCxn id="94" idx="1"/>
          </p:cNvCxnSpPr>
          <p:nvPr/>
        </p:nvCxnSpPr>
        <p:spPr>
          <a:xfrm>
            <a:off x="6805454" y="5096795"/>
            <a:ext cx="172492" cy="0"/>
          </a:xfrm>
          <a:prstGeom prst="straightConnector1">
            <a:avLst/>
          </a:prstGeom>
          <a:noFill/>
          <a:ln w="6350">
            <a:solidFill>
              <a:schemeClr val="bg1">
                <a:lumMod val="65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sp>
        <p:nvSpPr>
          <p:cNvPr id="107" name="Oval 106">
            <a:extLst>
              <a:ext uri="{FF2B5EF4-FFF2-40B4-BE49-F238E27FC236}">
                <a16:creationId xmlns:a16="http://schemas.microsoft.com/office/drawing/2014/main" id="{2D269FCF-CEE8-4B47-AB90-87AC75649D6C}"/>
              </a:ext>
            </a:extLst>
          </p:cNvPr>
          <p:cNvSpPr/>
          <p:nvPr/>
        </p:nvSpPr>
        <p:spPr bwMode="auto">
          <a:xfrm>
            <a:off x="4848450" y="5512646"/>
            <a:ext cx="135236" cy="1356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algn="ctr"/>
            <a:endParaRPr lang="en-US" sz="1200">
              <a:solidFill>
                <a:srgbClr val="282828"/>
              </a:solidFill>
              <a:latin typeface="Segoe UI" panose="020B0502040204020203" pitchFamily="34" charset="0"/>
              <a:cs typeface="Times New Roman" panose="02020603050405020304" pitchFamily="18" charset="0"/>
            </a:endParaRPr>
          </a:p>
        </p:txBody>
      </p:sp>
      <p:sp>
        <p:nvSpPr>
          <p:cNvPr id="108" name="Oval 107">
            <a:extLst>
              <a:ext uri="{FF2B5EF4-FFF2-40B4-BE49-F238E27FC236}">
                <a16:creationId xmlns:a16="http://schemas.microsoft.com/office/drawing/2014/main" id="{6071DABE-1719-4643-9603-AA11621B84DC}"/>
              </a:ext>
            </a:extLst>
          </p:cNvPr>
          <p:cNvSpPr/>
          <p:nvPr/>
        </p:nvSpPr>
        <p:spPr bwMode="auto">
          <a:xfrm>
            <a:off x="8390412" y="5512646"/>
            <a:ext cx="135236" cy="135698"/>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algn="ctr"/>
            <a:endParaRPr lang="en-US" sz="1200">
              <a:solidFill>
                <a:srgbClr val="282828"/>
              </a:solidFill>
              <a:latin typeface="Segoe UI" panose="020B0502040204020203" pitchFamily="34" charset="0"/>
              <a:cs typeface="Times New Roman" panose="02020603050405020304" pitchFamily="18" charset="0"/>
            </a:endParaRPr>
          </a:p>
        </p:txBody>
      </p:sp>
      <p:sp>
        <p:nvSpPr>
          <p:cNvPr id="109" name="Oval 108">
            <a:extLst>
              <a:ext uri="{FF2B5EF4-FFF2-40B4-BE49-F238E27FC236}">
                <a16:creationId xmlns:a16="http://schemas.microsoft.com/office/drawing/2014/main" id="{E8D25AAD-1D3E-4E52-BF75-9D72E2A937B0}"/>
              </a:ext>
            </a:extLst>
          </p:cNvPr>
          <p:cNvSpPr/>
          <p:nvPr/>
        </p:nvSpPr>
        <p:spPr bwMode="auto">
          <a:xfrm>
            <a:off x="6616227" y="5512646"/>
            <a:ext cx="135236" cy="135698"/>
          </a:xfrm>
          <a:prstGeom prst="ellipse">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10" name="Oval 109">
            <a:extLst>
              <a:ext uri="{FF2B5EF4-FFF2-40B4-BE49-F238E27FC236}">
                <a16:creationId xmlns:a16="http://schemas.microsoft.com/office/drawing/2014/main" id="{EC7F03B4-B170-4CC2-BC2F-2ED4AC0DC85C}"/>
              </a:ext>
            </a:extLst>
          </p:cNvPr>
          <p:cNvSpPr/>
          <p:nvPr/>
        </p:nvSpPr>
        <p:spPr bwMode="auto">
          <a:xfrm>
            <a:off x="4848450" y="2949647"/>
            <a:ext cx="135236" cy="135698"/>
          </a:xfrm>
          <a:prstGeom prst="ellipse">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11" name="Oval 110">
            <a:extLst>
              <a:ext uri="{FF2B5EF4-FFF2-40B4-BE49-F238E27FC236}">
                <a16:creationId xmlns:a16="http://schemas.microsoft.com/office/drawing/2014/main" id="{0F7C08F2-072F-415E-A006-9EA4855FEF83}"/>
              </a:ext>
            </a:extLst>
          </p:cNvPr>
          <p:cNvSpPr/>
          <p:nvPr/>
        </p:nvSpPr>
        <p:spPr bwMode="auto">
          <a:xfrm>
            <a:off x="4848450" y="4057137"/>
            <a:ext cx="135236" cy="135698"/>
          </a:xfrm>
          <a:prstGeom prst="ellipse">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12" name="Oval 111">
            <a:extLst>
              <a:ext uri="{FF2B5EF4-FFF2-40B4-BE49-F238E27FC236}">
                <a16:creationId xmlns:a16="http://schemas.microsoft.com/office/drawing/2014/main" id="{6EE3B822-BCBD-42F9-A196-217671CE7F03}"/>
              </a:ext>
            </a:extLst>
          </p:cNvPr>
          <p:cNvSpPr/>
          <p:nvPr/>
        </p:nvSpPr>
        <p:spPr bwMode="auto">
          <a:xfrm>
            <a:off x="8378121" y="3498002"/>
            <a:ext cx="135236" cy="135698"/>
          </a:xfrm>
          <a:prstGeom prst="ellipse">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13" name="Oval 112">
            <a:extLst>
              <a:ext uri="{FF2B5EF4-FFF2-40B4-BE49-F238E27FC236}">
                <a16:creationId xmlns:a16="http://schemas.microsoft.com/office/drawing/2014/main" id="{78207CC4-92B5-4430-921E-9445EA248F6E}"/>
              </a:ext>
            </a:extLst>
          </p:cNvPr>
          <p:cNvSpPr/>
          <p:nvPr/>
        </p:nvSpPr>
        <p:spPr bwMode="auto">
          <a:xfrm>
            <a:off x="10138459" y="3498002"/>
            <a:ext cx="135236" cy="135698"/>
          </a:xfrm>
          <a:prstGeom prst="ellipse">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14" name="Rectangle 113">
            <a:extLst>
              <a:ext uri="{FF2B5EF4-FFF2-40B4-BE49-F238E27FC236}">
                <a16:creationId xmlns:a16="http://schemas.microsoft.com/office/drawing/2014/main" id="{A3A48C15-673D-4AB4-9EB9-194BAFF362A3}"/>
              </a:ext>
            </a:extLst>
          </p:cNvPr>
          <p:cNvSpPr/>
          <p:nvPr/>
        </p:nvSpPr>
        <p:spPr bwMode="auto">
          <a:xfrm>
            <a:off x="5214056" y="2705660"/>
            <a:ext cx="1591398" cy="9778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Opens app </a:t>
            </a:r>
          </a:p>
          <a:p>
            <a:pPr marL="0" marR="0" lvl="0" indent="0" algn="ctr" defTabSz="914400" rtl="0" eaLnBrk="1" fontAlgn="auto" latinLnBrk="0" hangingPunct="1">
              <a:spcBef>
                <a:spcPts val="0"/>
              </a:spcBef>
              <a:spcAft>
                <a:spcPts val="0"/>
              </a:spcAft>
              <a:buClrTx/>
              <a:buSzTx/>
              <a:buFontTx/>
              <a:buNone/>
              <a:tabLst/>
              <a:defRPr/>
            </a:pPr>
            <a:r>
              <a:rPr kumimoji="0" lang="en-US" sz="1400" b="0" i="0" u="none" strike="noStrike" kern="1200" cap="none" normalizeH="0" baseline="0" noProof="0">
                <a:ln>
                  <a:noFill/>
                </a:ln>
                <a:solidFill>
                  <a:schemeClr val="tx1"/>
                </a:solidFill>
                <a:effectLst/>
                <a:uLnTx/>
                <a:uFillTx/>
                <a:latin typeface="Segoe UI" panose="020B0502040204020203" pitchFamily="34" charset="0"/>
                <a:ea typeface="+mn-ea"/>
                <a:cs typeface="Times New Roman" panose="02020603050405020304" pitchFamily="18" charset="0"/>
              </a:rPr>
              <a:t>in Microsoft Teams</a:t>
            </a:r>
          </a:p>
        </p:txBody>
      </p:sp>
      <p:sp>
        <p:nvSpPr>
          <p:cNvPr id="115" name="Oval 114">
            <a:extLst>
              <a:ext uri="{FF2B5EF4-FFF2-40B4-BE49-F238E27FC236}">
                <a16:creationId xmlns:a16="http://schemas.microsoft.com/office/drawing/2014/main" id="{10F62445-16DB-4AA5-8286-6602AD429C30}"/>
              </a:ext>
            </a:extLst>
          </p:cNvPr>
          <p:cNvSpPr/>
          <p:nvPr/>
        </p:nvSpPr>
        <p:spPr bwMode="auto">
          <a:xfrm>
            <a:off x="6613914" y="3498002"/>
            <a:ext cx="135236" cy="135698"/>
          </a:xfrm>
          <a:prstGeom prst="ellipse">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wordArtVert" wrap="square" lIns="91440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spcBef>
                <a:spcPts val="0"/>
              </a:spcBef>
              <a:spcAft>
                <a:spcPts val="0"/>
              </a:spcAft>
              <a:buClrTx/>
              <a:buSzTx/>
              <a:buFontTx/>
              <a:buNone/>
              <a:tabLst/>
              <a:defRPr/>
            </a:pPr>
            <a:endParaRPr kumimoji="0" lang="en-US" sz="1200" b="0" i="0" u="none" strike="noStrike" kern="1200" cap="none"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116" name="Straight Arrow Connector 115">
            <a:extLst>
              <a:ext uri="{FF2B5EF4-FFF2-40B4-BE49-F238E27FC236}">
                <a16:creationId xmlns:a16="http://schemas.microsoft.com/office/drawing/2014/main" id="{26BEB269-9DE5-41D7-AA70-BFE3D551B334}"/>
              </a:ext>
            </a:extLst>
          </p:cNvPr>
          <p:cNvCxnSpPr>
            <a:cxnSpLocks/>
            <a:stCxn id="103" idx="0"/>
            <a:endCxn id="98" idx="2"/>
          </p:cNvCxnSpPr>
          <p:nvPr/>
        </p:nvCxnSpPr>
        <p:spPr>
          <a:xfrm flipV="1">
            <a:off x="4245865" y="4237444"/>
            <a:ext cx="0" cy="260089"/>
          </a:xfrm>
          <a:prstGeom prst="straightConnector1">
            <a:avLst/>
          </a:prstGeom>
          <a:noFill/>
          <a:ln w="6350">
            <a:solidFill>
              <a:schemeClr val="bg1">
                <a:lumMod val="65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17" name="Straight Arrow Connector 116">
            <a:extLst>
              <a:ext uri="{FF2B5EF4-FFF2-40B4-BE49-F238E27FC236}">
                <a16:creationId xmlns:a16="http://schemas.microsoft.com/office/drawing/2014/main" id="{1FE29277-BEA5-4C65-8085-8CDD625E4710}"/>
              </a:ext>
            </a:extLst>
          </p:cNvPr>
          <p:cNvCxnSpPr>
            <a:cxnSpLocks/>
            <a:stCxn id="114" idx="3"/>
            <a:endCxn id="96" idx="1"/>
          </p:cNvCxnSpPr>
          <p:nvPr/>
        </p:nvCxnSpPr>
        <p:spPr>
          <a:xfrm>
            <a:off x="6805454" y="3194581"/>
            <a:ext cx="172492" cy="0"/>
          </a:xfrm>
          <a:prstGeom prst="straightConnector1">
            <a:avLst/>
          </a:prstGeom>
          <a:noFill/>
          <a:ln w="6350">
            <a:solidFill>
              <a:schemeClr val="bg1">
                <a:lumMod val="65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118" name="Straight Arrow Connector 117">
            <a:extLst>
              <a:ext uri="{FF2B5EF4-FFF2-40B4-BE49-F238E27FC236}">
                <a16:creationId xmlns:a16="http://schemas.microsoft.com/office/drawing/2014/main" id="{9F7646EB-A9CD-474E-A829-2560EABD063A}"/>
              </a:ext>
            </a:extLst>
          </p:cNvPr>
          <p:cNvCxnSpPr>
            <a:cxnSpLocks/>
            <a:stCxn id="96" idx="3"/>
            <a:endCxn id="97" idx="1"/>
          </p:cNvCxnSpPr>
          <p:nvPr/>
        </p:nvCxnSpPr>
        <p:spPr>
          <a:xfrm>
            <a:off x="8569344" y="3194581"/>
            <a:ext cx="172491" cy="0"/>
          </a:xfrm>
          <a:prstGeom prst="straightConnector1">
            <a:avLst/>
          </a:prstGeom>
          <a:noFill/>
          <a:ln w="6350">
            <a:solidFill>
              <a:schemeClr val="bg1">
                <a:lumMod val="65000"/>
              </a:schemeClr>
            </a:solidFill>
            <a:prstDash val="solid"/>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cxnSp>
      <p:cxnSp>
        <p:nvCxnSpPr>
          <p:cNvPr id="20" name="Straight Connector 19">
            <a:extLst>
              <a:ext uri="{FF2B5EF4-FFF2-40B4-BE49-F238E27FC236}">
                <a16:creationId xmlns:a16="http://schemas.microsoft.com/office/drawing/2014/main" id="{840155F8-C90A-442B-9AD3-08E117D6557A}"/>
              </a:ext>
            </a:extLst>
          </p:cNvPr>
          <p:cNvCxnSpPr>
            <a:cxnSpLocks/>
            <a:stCxn id="3" idx="3"/>
          </p:cNvCxnSpPr>
          <p:nvPr/>
        </p:nvCxnSpPr>
        <p:spPr>
          <a:xfrm>
            <a:off x="3033486" y="3923888"/>
            <a:ext cx="142354" cy="0"/>
          </a:xfrm>
          <a:prstGeom prst="line">
            <a:avLst/>
          </a:prstGeom>
          <a:noFill/>
          <a:ln w="6350">
            <a:solidFill>
              <a:schemeClr val="bg1">
                <a:lumMod val="6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21167210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D186B4-B6F0-4E0C-A3F8-C6ED7C858569}"/>
              </a:ext>
            </a:extLst>
          </p:cNvPr>
          <p:cNvSpPr>
            <a:spLocks noGrp="1"/>
          </p:cNvSpPr>
          <p:nvPr>
            <p:ph type="title"/>
          </p:nvPr>
        </p:nvSpPr>
        <p:spPr/>
        <p:txBody>
          <a:bodyPr/>
          <a:lstStyle/>
          <a:p>
            <a:r>
              <a:rPr lang="en-US"/>
              <a:t>Set-up and configure Viva Learning</a:t>
            </a:r>
          </a:p>
        </p:txBody>
      </p:sp>
      <p:sp>
        <p:nvSpPr>
          <p:cNvPr id="15" name="Rectangle 14">
            <a:extLst>
              <a:ext uri="{FF2B5EF4-FFF2-40B4-BE49-F238E27FC236}">
                <a16:creationId xmlns:a16="http://schemas.microsoft.com/office/drawing/2014/main" id="{30A28C9F-8194-47DF-8076-C007F6663109}"/>
              </a:ext>
            </a:extLst>
          </p:cNvPr>
          <p:cNvSpPr/>
          <p:nvPr/>
        </p:nvSpPr>
        <p:spPr bwMode="auto">
          <a:xfrm>
            <a:off x="423469" y="1011198"/>
            <a:ext cx="11374084" cy="16048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rPr>
              <a:t>Click the link to access our step-by-step documentation for setting up and configuring Viva Learning</a:t>
            </a:r>
          </a:p>
        </p:txBody>
      </p:sp>
      <p:pic>
        <p:nvPicPr>
          <p:cNvPr id="4" name="Picture 3">
            <a:hlinkClick r:id="rId3"/>
            <a:extLst>
              <a:ext uri="{FF2B5EF4-FFF2-40B4-BE49-F238E27FC236}">
                <a16:creationId xmlns:a16="http://schemas.microsoft.com/office/drawing/2014/main" id="{FB2930C9-4B1E-4CC1-A9A1-04C6D7B7E596}"/>
              </a:ext>
            </a:extLst>
          </p:cNvPr>
          <p:cNvPicPr>
            <a:picLocks noChangeAspect="1"/>
          </p:cNvPicPr>
          <p:nvPr/>
        </p:nvPicPr>
        <p:blipFill>
          <a:blip r:embed="rId4"/>
          <a:stretch>
            <a:fillRect/>
          </a:stretch>
        </p:blipFill>
        <p:spPr>
          <a:xfrm>
            <a:off x="3151837" y="2241541"/>
            <a:ext cx="5917348" cy="3264602"/>
          </a:xfrm>
          <a:prstGeom prst="rect">
            <a:avLst/>
          </a:prstGeom>
          <a:ln>
            <a:noFill/>
          </a:ln>
          <a:effectLst>
            <a:outerShdw blurRad="292100" dist="139700" dir="2700000" algn="tl" rotWithShape="0">
              <a:srgbClr val="333333">
                <a:alpha val="65000"/>
              </a:srgbClr>
            </a:outerShdw>
          </a:effectLst>
        </p:spPr>
      </p:pic>
      <p:sp>
        <p:nvSpPr>
          <p:cNvPr id="5" name="TextBox 4">
            <a:extLst>
              <a:ext uri="{FF2B5EF4-FFF2-40B4-BE49-F238E27FC236}">
                <a16:creationId xmlns:a16="http://schemas.microsoft.com/office/drawing/2014/main" id="{DBE35118-EDF4-43F8-AB49-B63362E52112}"/>
              </a:ext>
            </a:extLst>
          </p:cNvPr>
          <p:cNvSpPr txBox="1"/>
          <p:nvPr/>
        </p:nvSpPr>
        <p:spPr>
          <a:xfrm>
            <a:off x="3151837" y="5654659"/>
            <a:ext cx="5818094" cy="276999"/>
          </a:xfrm>
          <a:prstGeom prst="rect">
            <a:avLst/>
          </a:prstGeom>
          <a:noFill/>
        </p:spPr>
        <p:txBody>
          <a:bodyPr wrap="square" lIns="0" tIns="0" rIns="0" bIns="0" rtlCol="0">
            <a:spAutoFit/>
          </a:bodyPr>
          <a:lstStyle/>
          <a:p>
            <a:pPr algn="l"/>
            <a:r>
              <a:rPr lang="en-US">
                <a:hlinkClick r:id="rId3"/>
              </a:rPr>
              <a:t>Aka.ms/</a:t>
            </a:r>
            <a:r>
              <a:rPr lang="en-US" err="1">
                <a:hlinkClick r:id="rId3"/>
              </a:rPr>
              <a:t>VivaLearningDocs</a:t>
            </a:r>
            <a:endParaRPr lang="en-US"/>
          </a:p>
        </p:txBody>
      </p:sp>
    </p:spTree>
    <p:extLst>
      <p:ext uri="{BB962C8B-B14F-4D97-AF65-F5344CB8AC3E}">
        <p14:creationId xmlns:p14="http://schemas.microsoft.com/office/powerpoint/2010/main" val="270039896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31927E-77C8-405B-BEFD-9018BEEE050B}"/>
              </a:ext>
            </a:extLst>
          </p:cNvPr>
          <p:cNvSpPr/>
          <p:nvPr/>
        </p:nvSpPr>
        <p:spPr bwMode="auto">
          <a:xfrm>
            <a:off x="588263" y="6308657"/>
            <a:ext cx="6910546" cy="24622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l"/>
            <a:r>
              <a:rPr lang="en-US" sz="800">
                <a:solidFill>
                  <a:schemeClr val="tx1"/>
                </a:solidFill>
              </a:rPr>
              <a:t>*These sources require a separately licensed subscription between your organization and the third party in order to access full library</a:t>
            </a:r>
          </a:p>
          <a:p>
            <a:pPr algn="l"/>
            <a:r>
              <a:rPr lang="en-US" sz="800">
                <a:solidFill>
                  <a:schemeClr val="tx1"/>
                </a:solidFill>
              </a:rPr>
              <a:t>+ Viva Learning integrates with the global content catalog licensed through LinkedIn Learning. It does not feature any tenant-specific or custom content</a:t>
            </a:r>
          </a:p>
        </p:txBody>
      </p:sp>
      <p:sp>
        <p:nvSpPr>
          <p:cNvPr id="28" name="Rectangle 27">
            <a:extLst>
              <a:ext uri="{FF2B5EF4-FFF2-40B4-BE49-F238E27FC236}">
                <a16:creationId xmlns:a16="http://schemas.microsoft.com/office/drawing/2014/main" id="{C4C6E103-5B21-4FBF-8CDC-052D3F9AE9BD}"/>
              </a:ext>
            </a:extLst>
          </p:cNvPr>
          <p:cNvSpPr>
            <a:spLocks/>
          </p:cNvSpPr>
          <p:nvPr/>
        </p:nvSpPr>
        <p:spPr bwMode="auto">
          <a:xfrm>
            <a:off x="584200" y="4517308"/>
            <a:ext cx="2608593" cy="15913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37744" rIns="91440" bIns="45720" numCol="1" spcCol="0" rtlCol="0" fromWordArt="0" anchor="t" anchorCtr="0" forceAA="0" compatLnSpc="1">
            <a:prstTxWarp prst="textNoShape">
              <a:avLst/>
            </a:prstTxWarp>
            <a:noAutofit/>
          </a:bodyPr>
          <a:lstStyle/>
          <a:p>
            <a:pPr algn="l"/>
            <a:r>
              <a:rPr lang="en-US" sz="1200" i="0">
                <a:solidFill>
                  <a:schemeClr val="tx1"/>
                </a:solidFill>
                <a:effectLst/>
              </a:rPr>
              <a:t>A curated selection of 125 LinkedIn Learning courses are available to all Viva Learning users (full library requires </a:t>
            </a:r>
            <a:r>
              <a:rPr lang="en-US" sz="1200" i="0" err="1">
                <a:solidFill>
                  <a:schemeClr val="tx1"/>
                </a:solidFill>
                <a:effectLst/>
              </a:rPr>
              <a:t>LiL</a:t>
            </a:r>
            <a:r>
              <a:rPr lang="en-US" sz="1200" i="0">
                <a:solidFill>
                  <a:schemeClr val="tx1"/>
                </a:solidFill>
                <a:effectLst/>
              </a:rPr>
              <a:t> subscription). All users gain access to the full library of Microsoft Learn and Microsoft 365 trainings. </a:t>
            </a:r>
          </a:p>
        </p:txBody>
      </p:sp>
      <p:sp>
        <p:nvSpPr>
          <p:cNvPr id="30" name="Rectangle 29">
            <a:extLst>
              <a:ext uri="{FF2B5EF4-FFF2-40B4-BE49-F238E27FC236}">
                <a16:creationId xmlns:a16="http://schemas.microsoft.com/office/drawing/2014/main" id="{8F828C93-3898-48CA-BC65-E8BD7BFD9555}"/>
              </a:ext>
            </a:extLst>
          </p:cNvPr>
          <p:cNvSpPr>
            <a:spLocks/>
          </p:cNvSpPr>
          <p:nvPr/>
        </p:nvSpPr>
        <p:spPr bwMode="auto">
          <a:xfrm>
            <a:off x="3266501" y="4517308"/>
            <a:ext cx="2608594" cy="15913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37744" rIns="91440" bIns="45720" numCol="1" spcCol="0" rtlCol="0" fromWordArt="0" anchor="t" anchorCtr="0" forceAA="0" compatLnSpc="1">
            <a:prstTxWarp prst="textNoShape">
              <a:avLst/>
            </a:prstTxWarp>
            <a:noAutofit/>
          </a:bodyPr>
          <a:lstStyle/>
          <a:p>
            <a:pPr algn="l"/>
            <a:r>
              <a:rPr lang="en-US" sz="1200">
                <a:solidFill>
                  <a:schemeClr val="tx1"/>
                </a:solidFill>
              </a:rPr>
              <a:t>Admins can set up a SharePoint connection to Viva Learning to enable o</a:t>
            </a:r>
            <a:r>
              <a:rPr lang="en-US" sz="1200" i="0">
                <a:solidFill>
                  <a:schemeClr val="tx1"/>
                </a:solidFill>
                <a:effectLst/>
              </a:rPr>
              <a:t>rganization-generated resources to be discoverable and accessible in Viva Learning.</a:t>
            </a:r>
          </a:p>
        </p:txBody>
      </p:sp>
      <p:sp>
        <p:nvSpPr>
          <p:cNvPr id="32" name="Rectangle 31">
            <a:extLst>
              <a:ext uri="{FF2B5EF4-FFF2-40B4-BE49-F238E27FC236}">
                <a16:creationId xmlns:a16="http://schemas.microsoft.com/office/drawing/2014/main" id="{92A45220-7EB4-4A22-8A0F-938D877927EE}"/>
              </a:ext>
            </a:extLst>
          </p:cNvPr>
          <p:cNvSpPr>
            <a:spLocks/>
          </p:cNvSpPr>
          <p:nvPr/>
        </p:nvSpPr>
        <p:spPr bwMode="auto">
          <a:xfrm>
            <a:off x="6121231" y="4517308"/>
            <a:ext cx="5485552" cy="159139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37744" rIns="91440" bIns="45720" numCol="1" spcCol="0" rtlCol="0" fromWordArt="0" anchor="t" anchorCtr="0" forceAA="0" compatLnSpc="1">
            <a:prstTxWarp prst="textNoShape">
              <a:avLst/>
            </a:prstTxWarp>
            <a:noAutofit/>
          </a:bodyPr>
          <a:lstStyle/>
          <a:p>
            <a:pPr algn="l">
              <a:spcAft>
                <a:spcPts val="600"/>
              </a:spcAft>
            </a:pPr>
            <a:r>
              <a:rPr lang="en-US" sz="1200">
                <a:solidFill>
                  <a:schemeClr val="tx1"/>
                </a:solidFill>
              </a:rPr>
              <a:t>Viva Learning is being built as a fully extensible learning platform. The partners listed here are just the initial set customers can expect to have seamless integration with.</a:t>
            </a:r>
          </a:p>
          <a:p>
            <a:pPr algn="l">
              <a:spcAft>
                <a:spcPts val="600"/>
              </a:spcAft>
            </a:pPr>
            <a:r>
              <a:rPr lang="en-US" sz="1200" i="0">
                <a:solidFill>
                  <a:schemeClr val="tx1"/>
                </a:solidFill>
                <a:effectLst/>
              </a:rPr>
              <a:t>In 2022 there will also be</a:t>
            </a:r>
            <a:r>
              <a:rPr lang="en-US" sz="1200">
                <a:solidFill>
                  <a:schemeClr val="tx1"/>
                </a:solidFill>
              </a:rPr>
              <a:t> custom APIs available so the broader learning partner ecosystem can integrate with Viva Learning, outside of pre-configured partners.</a:t>
            </a:r>
            <a:endParaRPr lang="en-US" sz="1200" i="0">
              <a:solidFill>
                <a:schemeClr val="tx1"/>
              </a:solidFill>
              <a:effectLst/>
            </a:endParaRPr>
          </a:p>
        </p:txBody>
      </p:sp>
      <p:sp>
        <p:nvSpPr>
          <p:cNvPr id="7" name="Rectangle 6">
            <a:extLst>
              <a:ext uri="{FF2B5EF4-FFF2-40B4-BE49-F238E27FC236}">
                <a16:creationId xmlns:a16="http://schemas.microsoft.com/office/drawing/2014/main" id="{87108EA4-C472-400A-A27E-877F63B115BD}"/>
              </a:ext>
            </a:extLst>
          </p:cNvPr>
          <p:cNvSpPr>
            <a:spLocks/>
          </p:cNvSpPr>
          <p:nvPr/>
        </p:nvSpPr>
        <p:spPr bwMode="auto">
          <a:xfrm>
            <a:off x="584200" y="2095271"/>
            <a:ext cx="2608593" cy="18925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300"/>
              </a:spcAft>
              <a:buClr>
                <a:schemeClr val="tx1"/>
              </a:buClr>
            </a:pPr>
            <a:r>
              <a:rPr lang="en-US" sz="1400">
                <a:solidFill>
                  <a:srgbClr val="171717"/>
                </a:solidFill>
                <a:latin typeface="+mj-lt"/>
              </a:rPr>
              <a:t>Default enabled sources</a:t>
            </a:r>
          </a:p>
          <a:p>
            <a:pPr marL="307975" indent="-171450">
              <a:spcAft>
                <a:spcPts val="300"/>
              </a:spcAft>
              <a:buClr>
                <a:schemeClr val="tx1"/>
              </a:buClr>
              <a:buFont typeface="Verdana" panose="020B0604030504040204" pitchFamily="34" charset="0"/>
              <a:buChar char="-"/>
            </a:pPr>
            <a:r>
              <a:rPr lang="en-US" sz="1200">
                <a:solidFill>
                  <a:schemeClr val="tx1"/>
                </a:solidFill>
              </a:rPr>
              <a:t>LinkedIn Learning*+</a:t>
            </a:r>
          </a:p>
          <a:p>
            <a:pPr marL="307975" indent="-171450">
              <a:spcAft>
                <a:spcPts val="300"/>
              </a:spcAft>
              <a:buClr>
                <a:schemeClr val="tx1"/>
              </a:buClr>
              <a:buFont typeface="Verdana" panose="020B0604030504040204" pitchFamily="34" charset="0"/>
              <a:buChar char="-"/>
            </a:pPr>
            <a:r>
              <a:rPr lang="en-US" sz="1200">
                <a:solidFill>
                  <a:schemeClr val="tx1"/>
                </a:solidFill>
              </a:rPr>
              <a:t>Microsoft Learn</a:t>
            </a:r>
          </a:p>
          <a:p>
            <a:pPr marL="307975" indent="-171450">
              <a:spcAft>
                <a:spcPts val="300"/>
              </a:spcAft>
              <a:buClr>
                <a:schemeClr val="tx1"/>
              </a:buClr>
              <a:buFont typeface="Verdana" panose="020B0604030504040204" pitchFamily="34" charset="0"/>
              <a:buChar char="-"/>
            </a:pPr>
            <a:r>
              <a:rPr lang="en-US" sz="1200">
                <a:solidFill>
                  <a:schemeClr val="tx1"/>
                </a:solidFill>
              </a:rPr>
              <a:t>Microsoft 365 trainings</a:t>
            </a:r>
          </a:p>
        </p:txBody>
      </p:sp>
      <p:sp>
        <p:nvSpPr>
          <p:cNvPr id="8" name="Rectangle 7">
            <a:extLst>
              <a:ext uri="{FF2B5EF4-FFF2-40B4-BE49-F238E27FC236}">
                <a16:creationId xmlns:a16="http://schemas.microsoft.com/office/drawing/2014/main" id="{24B4EB88-79E9-4AC3-B73E-433C44018BD2}"/>
              </a:ext>
            </a:extLst>
          </p:cNvPr>
          <p:cNvSpPr>
            <a:spLocks/>
          </p:cNvSpPr>
          <p:nvPr/>
        </p:nvSpPr>
        <p:spPr bwMode="auto">
          <a:xfrm>
            <a:off x="3352715" y="2095271"/>
            <a:ext cx="2608594" cy="18925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300"/>
              </a:spcAft>
              <a:buClr>
                <a:schemeClr val="tx1"/>
              </a:buClr>
            </a:pPr>
            <a:r>
              <a:rPr lang="en-US" sz="1400" i="0">
                <a:solidFill>
                  <a:srgbClr val="171717"/>
                </a:solidFill>
                <a:effectLst/>
                <a:latin typeface="+mj-lt"/>
                <a:cs typeface="Segoe UI"/>
              </a:rPr>
              <a:t>Suppor</a:t>
            </a:r>
            <a:r>
              <a:rPr lang="en-US" sz="1400">
                <a:solidFill>
                  <a:srgbClr val="171717"/>
                </a:solidFill>
                <a:latin typeface="+mj-lt"/>
                <a:cs typeface="Segoe UI"/>
              </a:rPr>
              <a:t>ted file types</a:t>
            </a:r>
          </a:p>
          <a:p>
            <a:pPr marL="307975" indent="-171450">
              <a:spcAft>
                <a:spcPts val="300"/>
              </a:spcAft>
              <a:buClr>
                <a:schemeClr val="tx1"/>
              </a:buClr>
              <a:buFont typeface="Verdana" panose="020B0604030504040204" pitchFamily="34" charset="0"/>
              <a:buChar char="-"/>
            </a:pPr>
            <a:r>
              <a:rPr lang="en-US" sz="1200" i="0">
                <a:solidFill>
                  <a:srgbClr val="171717"/>
                </a:solidFill>
                <a:effectLst/>
                <a:cs typeface="Segoe UI"/>
              </a:rPr>
              <a:t>.</a:t>
            </a:r>
            <a:r>
              <a:rPr lang="en-US" sz="1200">
                <a:solidFill>
                  <a:srgbClr val="171717"/>
                </a:solidFill>
              </a:rPr>
              <a:t>doc</a:t>
            </a:r>
          </a:p>
          <a:p>
            <a:pPr marL="307975" indent="-171450">
              <a:spcAft>
                <a:spcPts val="300"/>
              </a:spcAft>
              <a:buClr>
                <a:schemeClr val="tx1"/>
              </a:buClr>
              <a:buFont typeface="Verdana" panose="020B0604030504040204" pitchFamily="34" charset="0"/>
              <a:buChar char="-"/>
            </a:pPr>
            <a:r>
              <a:rPr lang="en-US" sz="1200">
                <a:solidFill>
                  <a:srgbClr val="171717"/>
                </a:solidFill>
              </a:rPr>
              <a:t>.ppt</a:t>
            </a:r>
          </a:p>
          <a:p>
            <a:pPr marL="307975" indent="-171450">
              <a:spcAft>
                <a:spcPts val="300"/>
              </a:spcAft>
              <a:buClr>
                <a:schemeClr val="tx1"/>
              </a:buClr>
              <a:buFont typeface="Verdana" panose="020B0604030504040204" pitchFamily="34" charset="0"/>
              <a:buChar char="-"/>
            </a:pPr>
            <a:r>
              <a:rPr lang="en-US" sz="1200">
                <a:solidFill>
                  <a:srgbClr val="171717"/>
                </a:solidFill>
              </a:rPr>
              <a:t>.pdf</a:t>
            </a:r>
          </a:p>
          <a:p>
            <a:pPr marL="307975" indent="-171450">
              <a:spcAft>
                <a:spcPts val="300"/>
              </a:spcAft>
              <a:buClr>
                <a:schemeClr val="tx1"/>
              </a:buClr>
              <a:buFont typeface="Verdana" panose="020B0604030504040204" pitchFamily="34" charset="0"/>
              <a:buChar char="-"/>
            </a:pPr>
            <a:r>
              <a:rPr lang="en-US" sz="1200">
                <a:solidFill>
                  <a:srgbClr val="171717"/>
                </a:solidFill>
              </a:rPr>
              <a:t>.mp4</a:t>
            </a:r>
          </a:p>
          <a:p>
            <a:pPr marL="307975" indent="-171450">
              <a:spcAft>
                <a:spcPts val="300"/>
              </a:spcAft>
              <a:buClr>
                <a:schemeClr val="tx1"/>
              </a:buClr>
              <a:buFont typeface="Verdana" panose="020B0604030504040204" pitchFamily="34" charset="0"/>
              <a:buChar char="-"/>
            </a:pPr>
            <a:r>
              <a:rPr lang="en-US" sz="1200">
                <a:solidFill>
                  <a:srgbClr val="171717"/>
                </a:solidFill>
              </a:rPr>
              <a:t>Audio files</a:t>
            </a:r>
            <a:endParaRPr lang="en-US" sz="1200" i="0">
              <a:solidFill>
                <a:srgbClr val="171717"/>
              </a:solidFill>
              <a:effectLst/>
            </a:endParaRPr>
          </a:p>
        </p:txBody>
      </p:sp>
      <p:sp>
        <p:nvSpPr>
          <p:cNvPr id="13" name="Rectangle 12">
            <a:extLst>
              <a:ext uri="{FF2B5EF4-FFF2-40B4-BE49-F238E27FC236}">
                <a16:creationId xmlns:a16="http://schemas.microsoft.com/office/drawing/2014/main" id="{AFC2A97D-F0A8-4C09-9CB7-E463B5B282ED}"/>
              </a:ext>
            </a:extLst>
          </p:cNvPr>
          <p:cNvSpPr>
            <a:spLocks/>
          </p:cNvSpPr>
          <p:nvPr/>
        </p:nvSpPr>
        <p:spPr bwMode="auto">
          <a:xfrm>
            <a:off x="9085816" y="2095271"/>
            <a:ext cx="2520967" cy="18925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300"/>
              </a:spcAft>
              <a:buClr>
                <a:schemeClr val="tx1"/>
              </a:buClr>
            </a:pPr>
            <a:r>
              <a:rPr lang="en-US" sz="1400" i="0">
                <a:solidFill>
                  <a:srgbClr val="171717"/>
                </a:solidFill>
                <a:effectLst/>
                <a:latin typeface="+mj-lt"/>
              </a:rPr>
              <a:t>Announced</a:t>
            </a:r>
            <a:endParaRPr lang="en-US" sz="1400">
              <a:solidFill>
                <a:srgbClr val="171717"/>
              </a:solidFill>
              <a:latin typeface="+mj-lt"/>
            </a:endParaRPr>
          </a:p>
          <a:p>
            <a:pPr marL="307975" indent="-171450">
              <a:spcAft>
                <a:spcPts val="300"/>
              </a:spcAft>
              <a:buClr>
                <a:schemeClr val="tx1"/>
              </a:buClr>
              <a:buFont typeface="Verdana" panose="020B0604030504040204" pitchFamily="34" charset="0"/>
              <a:buChar char="-"/>
            </a:pPr>
            <a:r>
              <a:rPr lang="en-US" sz="1200">
                <a:solidFill>
                  <a:schemeClr val="tx1"/>
                </a:solidFill>
              </a:rPr>
              <a:t>Cornerstone OnDemand*</a:t>
            </a:r>
          </a:p>
          <a:p>
            <a:pPr marL="307975" indent="-171450">
              <a:spcAft>
                <a:spcPts val="300"/>
              </a:spcAft>
              <a:buClr>
                <a:schemeClr val="tx1"/>
              </a:buClr>
              <a:buFont typeface="Verdana" panose="020B0604030504040204" pitchFamily="34" charset="0"/>
              <a:buChar char="-"/>
            </a:pPr>
            <a:r>
              <a:rPr lang="en-US" sz="1200">
                <a:solidFill>
                  <a:schemeClr val="tx1"/>
                </a:solidFill>
              </a:rPr>
              <a:t>SAP SuccessFactors*</a:t>
            </a:r>
          </a:p>
          <a:p>
            <a:pPr marL="307975" indent="-171450">
              <a:spcAft>
                <a:spcPts val="300"/>
              </a:spcAft>
              <a:buClr>
                <a:schemeClr val="tx1"/>
              </a:buClr>
              <a:buFont typeface="Verdana" panose="020B0604030504040204" pitchFamily="34" charset="0"/>
              <a:buChar char="-"/>
            </a:pPr>
            <a:r>
              <a:rPr lang="en-US" sz="1200">
                <a:solidFill>
                  <a:schemeClr val="tx1"/>
                </a:solidFill>
              </a:rPr>
              <a:t>Saba*</a:t>
            </a:r>
            <a:endParaRPr lang="en-US" sz="1200" i="0">
              <a:solidFill>
                <a:schemeClr val="tx1"/>
              </a:solidFill>
              <a:effectLst/>
            </a:endParaRPr>
          </a:p>
        </p:txBody>
      </p:sp>
      <p:sp>
        <p:nvSpPr>
          <p:cNvPr id="11" name="Rectangle 10">
            <a:extLst>
              <a:ext uri="{FF2B5EF4-FFF2-40B4-BE49-F238E27FC236}">
                <a16:creationId xmlns:a16="http://schemas.microsoft.com/office/drawing/2014/main" id="{0E836B69-BBC4-4485-877A-634CC213D0DF}"/>
              </a:ext>
            </a:extLst>
          </p:cNvPr>
          <p:cNvSpPr/>
          <p:nvPr/>
        </p:nvSpPr>
        <p:spPr bwMode="auto">
          <a:xfrm>
            <a:off x="6121231" y="2095271"/>
            <a:ext cx="2804664" cy="18925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2" spcCol="0" rtlCol="0" fromWordArt="0" anchor="t" anchorCtr="0" forceAA="0" compatLnSpc="1">
            <a:prstTxWarp prst="textNoShape">
              <a:avLst/>
            </a:prstTxWarp>
            <a:noAutofit/>
          </a:bodyPr>
          <a:lstStyle/>
          <a:p>
            <a:pPr algn="l">
              <a:spcAft>
                <a:spcPts val="300"/>
              </a:spcAft>
              <a:buClr>
                <a:schemeClr val="tx1"/>
              </a:buClr>
            </a:pPr>
            <a:r>
              <a:rPr lang="en-US" sz="1400" i="0">
                <a:solidFill>
                  <a:srgbClr val="171717"/>
                </a:solidFill>
                <a:effectLst/>
                <a:latin typeface="+mj-lt"/>
              </a:rPr>
              <a:t>Announced</a:t>
            </a:r>
            <a:endParaRPr lang="en-US" sz="1400">
              <a:solidFill>
                <a:srgbClr val="171717"/>
              </a:solidFill>
              <a:latin typeface="+mj-lt"/>
            </a:endParaRPr>
          </a:p>
          <a:p>
            <a:pPr marL="307975" indent="-171450" algn="l">
              <a:spcAft>
                <a:spcPts val="300"/>
              </a:spcAft>
              <a:buClr>
                <a:schemeClr val="tx1"/>
              </a:buClr>
              <a:buFont typeface="Verdana" panose="020B0604030504040204" pitchFamily="34" charset="0"/>
              <a:buChar char="-"/>
            </a:pPr>
            <a:r>
              <a:rPr lang="en-US" sz="1200" i="0">
                <a:solidFill>
                  <a:srgbClr val="171717"/>
                </a:solidFill>
                <a:effectLst/>
              </a:rPr>
              <a:t>Skillsoft*</a:t>
            </a:r>
          </a:p>
          <a:p>
            <a:pPr marL="307975" indent="-171450" algn="l">
              <a:spcAft>
                <a:spcPts val="300"/>
              </a:spcAft>
              <a:buClr>
                <a:schemeClr val="tx1"/>
              </a:buClr>
              <a:buFont typeface="Verdana" panose="020B0604030504040204" pitchFamily="34" charset="0"/>
              <a:buChar char="-"/>
            </a:pPr>
            <a:r>
              <a:rPr lang="en-US" sz="1200">
                <a:solidFill>
                  <a:srgbClr val="171717"/>
                </a:solidFill>
              </a:rPr>
              <a:t>Pluralsight*</a:t>
            </a:r>
          </a:p>
          <a:p>
            <a:pPr marL="307975" indent="-171450" algn="l">
              <a:spcAft>
                <a:spcPts val="300"/>
              </a:spcAft>
              <a:buClr>
                <a:schemeClr val="tx1"/>
              </a:buClr>
              <a:buFont typeface="Verdana" panose="020B0604030504040204" pitchFamily="34" charset="0"/>
              <a:buChar char="-"/>
            </a:pPr>
            <a:r>
              <a:rPr lang="en-US" sz="1200">
                <a:solidFill>
                  <a:srgbClr val="171717"/>
                </a:solidFill>
              </a:rPr>
              <a:t>Coursera*</a:t>
            </a:r>
          </a:p>
          <a:p>
            <a:pPr marL="307975" marR="0" lvl="0" indent="-171450">
              <a:spcAft>
                <a:spcPts val="300"/>
              </a:spcAft>
              <a:buClr>
                <a:schemeClr val="tx1"/>
              </a:buClr>
              <a:buFont typeface="Verdana" panose="020B0604030504040204" pitchFamily="34" charset="0"/>
              <a:buChar char="-"/>
            </a:pPr>
            <a:r>
              <a:rPr lang="en-US" sz="1200">
                <a:solidFill>
                  <a:srgbClr val="171717"/>
                </a:solidFill>
              </a:rPr>
              <a:t>edX*</a:t>
            </a:r>
          </a:p>
          <a:p>
            <a:pPr marL="307975" indent="-171450">
              <a:spcAft>
                <a:spcPts val="300"/>
              </a:spcAft>
              <a:buClr>
                <a:schemeClr val="tx1"/>
              </a:buClr>
              <a:buFont typeface="Verdana" panose="020B0604030504040204" pitchFamily="34" charset="0"/>
              <a:buChar char="-"/>
            </a:pPr>
            <a:r>
              <a:rPr lang="en-US" sz="1200" err="1">
                <a:solidFill>
                  <a:srgbClr val="171717"/>
                </a:solidFill>
              </a:rPr>
              <a:t>EdCast</a:t>
            </a:r>
            <a:r>
              <a:rPr lang="en-US" sz="1200">
                <a:solidFill>
                  <a:srgbClr val="171717"/>
                </a:solidFill>
              </a:rPr>
              <a:t>*</a:t>
            </a:r>
          </a:p>
          <a:p>
            <a:pPr marL="307975" indent="-171450">
              <a:spcAft>
                <a:spcPts val="300"/>
              </a:spcAft>
              <a:buClr>
                <a:schemeClr val="tx1"/>
              </a:buClr>
              <a:buFont typeface="Verdana" panose="020B0604030504040204" pitchFamily="34" charset="0"/>
              <a:buChar char="-"/>
            </a:pPr>
            <a:r>
              <a:rPr lang="en-US" sz="1200">
                <a:solidFill>
                  <a:srgbClr val="171717"/>
                </a:solidFill>
              </a:rPr>
              <a:t>Harvard Bus. Publishing*</a:t>
            </a:r>
          </a:p>
          <a:p>
            <a:pPr marL="307975" indent="-171450">
              <a:spcAft>
                <a:spcPts val="300"/>
              </a:spcAft>
              <a:buClr>
                <a:schemeClr val="tx1"/>
              </a:buClr>
              <a:buFont typeface="Verdana" panose="020B0604030504040204" pitchFamily="34" charset="0"/>
              <a:buChar char="-"/>
            </a:pPr>
            <a:endParaRPr lang="en-US" sz="1200">
              <a:solidFill>
                <a:srgbClr val="171717"/>
              </a:solidFill>
            </a:endParaRPr>
          </a:p>
          <a:p>
            <a:pPr marL="307975" indent="-171450">
              <a:spcAft>
                <a:spcPts val="300"/>
              </a:spcAft>
              <a:buClr>
                <a:schemeClr val="tx1"/>
              </a:buClr>
              <a:buFont typeface="Verdana" panose="020B0604030504040204" pitchFamily="34" charset="0"/>
              <a:buChar char="-"/>
            </a:pPr>
            <a:r>
              <a:rPr lang="en-US" sz="1200">
                <a:solidFill>
                  <a:srgbClr val="171717"/>
                </a:solidFill>
              </a:rPr>
              <a:t>Go1*</a:t>
            </a:r>
          </a:p>
          <a:p>
            <a:pPr marL="307975" indent="-171450">
              <a:spcAft>
                <a:spcPts val="300"/>
              </a:spcAft>
              <a:buClr>
                <a:schemeClr val="tx1"/>
              </a:buClr>
              <a:buFont typeface="Verdana" panose="020B0604030504040204" pitchFamily="34" charset="0"/>
              <a:buChar char="-"/>
            </a:pPr>
            <a:r>
              <a:rPr lang="en-US" sz="1200">
                <a:solidFill>
                  <a:srgbClr val="171717"/>
                </a:solidFill>
              </a:rPr>
              <a:t>Josh Bersin Academy*</a:t>
            </a:r>
          </a:p>
          <a:p>
            <a:pPr marL="307975" indent="-171450">
              <a:spcAft>
                <a:spcPts val="300"/>
              </a:spcAft>
              <a:buClr>
                <a:schemeClr val="tx1"/>
              </a:buClr>
              <a:buFont typeface="Verdana" panose="020B0604030504040204" pitchFamily="34" charset="0"/>
              <a:buChar char="-"/>
            </a:pPr>
            <a:r>
              <a:rPr lang="en-US" sz="1200">
                <a:solidFill>
                  <a:srgbClr val="171717"/>
                </a:solidFill>
              </a:rPr>
              <a:t>Infosec*</a:t>
            </a:r>
          </a:p>
          <a:p>
            <a:pPr marL="307975" indent="-171450">
              <a:spcAft>
                <a:spcPts val="300"/>
              </a:spcAft>
              <a:buClr>
                <a:schemeClr val="tx1"/>
              </a:buClr>
              <a:buFont typeface="Verdana" panose="020B0604030504040204" pitchFamily="34" charset="0"/>
              <a:buChar char="-"/>
            </a:pPr>
            <a:r>
              <a:rPr lang="en-US" sz="1200" err="1">
                <a:solidFill>
                  <a:srgbClr val="171717"/>
                </a:solidFill>
              </a:rPr>
              <a:t>OpenSesame</a:t>
            </a:r>
            <a:r>
              <a:rPr lang="en-US" sz="1200">
                <a:solidFill>
                  <a:srgbClr val="171717"/>
                </a:solidFill>
              </a:rPr>
              <a:t>*</a:t>
            </a:r>
          </a:p>
          <a:p>
            <a:pPr marL="307975" indent="-171450">
              <a:spcAft>
                <a:spcPts val="300"/>
              </a:spcAft>
              <a:buClr>
                <a:schemeClr val="tx1"/>
              </a:buClr>
              <a:buFont typeface="Verdana" panose="020B0604030504040204" pitchFamily="34" charset="0"/>
              <a:buChar char="-"/>
            </a:pPr>
            <a:r>
              <a:rPr lang="en-US" sz="1200">
                <a:solidFill>
                  <a:srgbClr val="171717"/>
                </a:solidFill>
              </a:rPr>
              <a:t>Udacity*</a:t>
            </a:r>
          </a:p>
          <a:p>
            <a:pPr marL="307975" indent="-171450">
              <a:spcAft>
                <a:spcPts val="300"/>
              </a:spcAft>
              <a:buClr>
                <a:schemeClr val="tx1"/>
              </a:buClr>
              <a:buFont typeface="Verdana" panose="020B0604030504040204" pitchFamily="34" charset="0"/>
              <a:buChar char="-"/>
            </a:pPr>
            <a:r>
              <a:rPr lang="en-US" sz="1200">
                <a:solidFill>
                  <a:srgbClr val="171717"/>
                </a:solidFill>
              </a:rPr>
              <a:t>Udemy*</a:t>
            </a:r>
          </a:p>
        </p:txBody>
      </p:sp>
      <p:sp>
        <p:nvSpPr>
          <p:cNvPr id="9" name="Title 8">
            <a:extLst>
              <a:ext uri="{FF2B5EF4-FFF2-40B4-BE49-F238E27FC236}">
                <a16:creationId xmlns:a16="http://schemas.microsoft.com/office/drawing/2014/main" id="{D0309A0E-F0D3-4AD3-A40F-83C25BDF8971}"/>
              </a:ext>
            </a:extLst>
          </p:cNvPr>
          <p:cNvSpPr>
            <a:spLocks noGrp="1"/>
          </p:cNvSpPr>
          <p:nvPr>
            <p:ph type="title"/>
          </p:nvPr>
        </p:nvSpPr>
        <p:spPr>
          <a:xfrm>
            <a:off x="588263" y="457200"/>
            <a:ext cx="11018520" cy="553998"/>
          </a:xfrm>
        </p:spPr>
        <p:txBody>
          <a:bodyPr/>
          <a:lstStyle/>
          <a:p>
            <a:r>
              <a:rPr lang="en-US"/>
              <a:t>Understand learning content sources- Overview</a:t>
            </a:r>
          </a:p>
        </p:txBody>
      </p:sp>
      <p:sp>
        <p:nvSpPr>
          <p:cNvPr id="33" name="Rectangle: Top Corners Rounded 32">
            <a:extLst>
              <a:ext uri="{FF2B5EF4-FFF2-40B4-BE49-F238E27FC236}">
                <a16:creationId xmlns:a16="http://schemas.microsoft.com/office/drawing/2014/main" id="{2D924D6A-CF60-42CA-8D3F-E746169B0E1C}"/>
              </a:ext>
            </a:extLst>
          </p:cNvPr>
          <p:cNvSpPr/>
          <p:nvPr/>
        </p:nvSpPr>
        <p:spPr bwMode="auto">
          <a:xfrm>
            <a:off x="584200" y="1389888"/>
            <a:ext cx="2608594" cy="634709"/>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a:spcBef>
                <a:spcPts val="0"/>
              </a:spcBef>
            </a:pPr>
            <a:r>
              <a:rPr lang="en-US" sz="1400" i="0">
                <a:solidFill>
                  <a:schemeClr val="bg1"/>
                </a:solidFill>
                <a:effectLst/>
                <a:latin typeface="+mj-lt"/>
                <a:cs typeface="Segoe UI Semibold" panose="020B0702040204020203" pitchFamily="34" charset="0"/>
              </a:rPr>
              <a:t>1. Microsoft owned </a:t>
            </a:r>
          </a:p>
          <a:p>
            <a:pPr marR="0" algn="ctr">
              <a:spcBef>
                <a:spcPts val="0"/>
              </a:spcBef>
            </a:pPr>
            <a:r>
              <a:rPr lang="en-US" sz="1400" i="0">
                <a:solidFill>
                  <a:schemeClr val="bg1"/>
                </a:solidFill>
                <a:effectLst/>
                <a:latin typeface="+mj-lt"/>
                <a:cs typeface="Segoe UI Semibold" panose="020B0702040204020203" pitchFamily="34" charset="0"/>
              </a:rPr>
              <a:t>content sources</a:t>
            </a:r>
            <a:endParaRPr lang="en-US" sz="1400">
              <a:solidFill>
                <a:schemeClr val="bg1"/>
              </a:solidFill>
              <a:effectLst/>
              <a:latin typeface="+mj-lt"/>
              <a:ea typeface="Times New Roman" panose="02020603050405020304" pitchFamily="18" charset="0"/>
              <a:cs typeface="Segoe UI Semibold" panose="020B0702040204020203" pitchFamily="34" charset="0"/>
            </a:endParaRPr>
          </a:p>
        </p:txBody>
      </p:sp>
      <p:sp>
        <p:nvSpPr>
          <p:cNvPr id="34" name="Rectangle: Top Corners Rounded 33">
            <a:extLst>
              <a:ext uri="{FF2B5EF4-FFF2-40B4-BE49-F238E27FC236}">
                <a16:creationId xmlns:a16="http://schemas.microsoft.com/office/drawing/2014/main" id="{A8A80F2D-2ED4-4D5F-BD42-CB1E1E19B5C3}"/>
              </a:ext>
            </a:extLst>
          </p:cNvPr>
          <p:cNvSpPr/>
          <p:nvPr/>
        </p:nvSpPr>
        <p:spPr bwMode="auto">
          <a:xfrm>
            <a:off x="3352717" y="1389888"/>
            <a:ext cx="2608594" cy="634709"/>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bg1"/>
                </a:solidFill>
                <a:latin typeface="+mj-lt"/>
                <a:cs typeface="Segoe UI Semibold" panose="020B0702040204020203" pitchFamily="34" charset="0"/>
              </a:rPr>
              <a:t>2. SharePoint hosted </a:t>
            </a:r>
          </a:p>
          <a:p>
            <a:pPr algn="ctr"/>
            <a:r>
              <a:rPr lang="en-US" sz="1400">
                <a:solidFill>
                  <a:schemeClr val="bg1"/>
                </a:solidFill>
                <a:latin typeface="+mj-lt"/>
                <a:cs typeface="Segoe UI Semibold" panose="020B0702040204020203" pitchFamily="34" charset="0"/>
              </a:rPr>
              <a:t>custom content </a:t>
            </a:r>
          </a:p>
        </p:txBody>
      </p:sp>
      <p:sp>
        <p:nvSpPr>
          <p:cNvPr id="35" name="Rectangle: Top Corners Rounded 34">
            <a:extLst>
              <a:ext uri="{FF2B5EF4-FFF2-40B4-BE49-F238E27FC236}">
                <a16:creationId xmlns:a16="http://schemas.microsoft.com/office/drawing/2014/main" id="{A473D9A8-76F4-4402-AECD-5F1FD45346DE}"/>
              </a:ext>
            </a:extLst>
          </p:cNvPr>
          <p:cNvSpPr/>
          <p:nvPr/>
        </p:nvSpPr>
        <p:spPr bwMode="auto">
          <a:xfrm>
            <a:off x="6121234" y="1389888"/>
            <a:ext cx="2804661" cy="634709"/>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bg1"/>
                </a:solidFill>
                <a:latin typeface="+mj-lt"/>
                <a:cs typeface="Segoe UI Semibold" panose="020B0702040204020203" pitchFamily="34" charset="0"/>
              </a:rPr>
              <a:t>3. 3</a:t>
            </a:r>
            <a:r>
              <a:rPr lang="en-US" sz="1400" baseline="30000">
                <a:solidFill>
                  <a:schemeClr val="bg1"/>
                </a:solidFill>
                <a:latin typeface="+mj-lt"/>
                <a:cs typeface="Segoe UI Semibold" panose="020B0702040204020203" pitchFamily="34" charset="0"/>
              </a:rPr>
              <a:t>rd</a:t>
            </a:r>
            <a:r>
              <a:rPr lang="en-US" sz="1400">
                <a:solidFill>
                  <a:schemeClr val="bg1"/>
                </a:solidFill>
                <a:latin typeface="+mj-lt"/>
                <a:cs typeface="Segoe UI Semibold" panose="020B0702040204020203" pitchFamily="34" charset="0"/>
              </a:rPr>
              <a:t> party learning </a:t>
            </a:r>
          </a:p>
          <a:p>
            <a:pPr algn="ctr"/>
            <a:r>
              <a:rPr lang="en-US" sz="1400">
                <a:solidFill>
                  <a:schemeClr val="bg1"/>
                </a:solidFill>
                <a:latin typeface="+mj-lt"/>
                <a:cs typeface="Segoe UI Semibold" panose="020B0702040204020203" pitchFamily="34" charset="0"/>
              </a:rPr>
              <a:t>content provider</a:t>
            </a:r>
          </a:p>
        </p:txBody>
      </p:sp>
      <p:sp>
        <p:nvSpPr>
          <p:cNvPr id="36" name="Rectangle: Top Corners Rounded 35">
            <a:extLst>
              <a:ext uri="{FF2B5EF4-FFF2-40B4-BE49-F238E27FC236}">
                <a16:creationId xmlns:a16="http://schemas.microsoft.com/office/drawing/2014/main" id="{DC862EDA-CB0E-439E-838E-32A286DF1F28}"/>
              </a:ext>
            </a:extLst>
          </p:cNvPr>
          <p:cNvSpPr/>
          <p:nvPr/>
        </p:nvSpPr>
        <p:spPr bwMode="auto">
          <a:xfrm>
            <a:off x="9085818" y="1389888"/>
            <a:ext cx="2520966" cy="634709"/>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bg1"/>
                </a:solidFill>
                <a:latin typeface="+mj-lt"/>
                <a:cs typeface="Segoe UI Semibold" panose="020B0702040204020203" pitchFamily="34" charset="0"/>
              </a:rPr>
              <a:t>4. Learning Management Systems (</a:t>
            </a:r>
            <a:r>
              <a:rPr lang="en-US" sz="1400" err="1">
                <a:solidFill>
                  <a:schemeClr val="bg1"/>
                </a:solidFill>
                <a:latin typeface="+mj-lt"/>
                <a:cs typeface="Segoe UI Semibold" panose="020B0702040204020203" pitchFamily="34" charset="0"/>
              </a:rPr>
              <a:t>LMS</a:t>
            </a:r>
            <a:r>
              <a:rPr lang="en-US" sz="1400">
                <a:solidFill>
                  <a:schemeClr val="bg1"/>
                </a:solidFill>
                <a:latin typeface="+mj-lt"/>
                <a:cs typeface="Segoe UI Semibold" panose="020B0702040204020203" pitchFamily="34" charset="0"/>
              </a:rPr>
              <a:t>)</a:t>
            </a:r>
            <a:endParaRPr lang="en-US" sz="1600">
              <a:solidFill>
                <a:schemeClr val="bg1"/>
              </a:solidFill>
              <a:latin typeface="+mj-lt"/>
              <a:cs typeface="Segoe UI Semibold" panose="020B0702040204020203" pitchFamily="34" charset="0"/>
            </a:endParaRPr>
          </a:p>
        </p:txBody>
      </p:sp>
      <p:sp>
        <p:nvSpPr>
          <p:cNvPr id="44" name="Left Brace 43">
            <a:extLst>
              <a:ext uri="{FF2B5EF4-FFF2-40B4-BE49-F238E27FC236}">
                <a16:creationId xmlns:a16="http://schemas.microsoft.com/office/drawing/2014/main" id="{454D9145-5F9F-4AF9-8B83-951E58EEEDA1}"/>
              </a:ext>
            </a:extLst>
          </p:cNvPr>
          <p:cNvSpPr/>
          <p:nvPr/>
        </p:nvSpPr>
        <p:spPr>
          <a:xfrm rot="16200000">
            <a:off x="1716254" y="2854073"/>
            <a:ext cx="342900" cy="2610185"/>
          </a:xfrm>
          <a:prstGeom prst="leftBrace">
            <a:avLst>
              <a:gd name="adj1" fmla="val 0"/>
              <a:gd name="adj2" fmla="val 5000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Left Brace 44">
            <a:extLst>
              <a:ext uri="{FF2B5EF4-FFF2-40B4-BE49-F238E27FC236}">
                <a16:creationId xmlns:a16="http://schemas.microsoft.com/office/drawing/2014/main" id="{70337329-5D89-458A-93A2-12631B20F7F7}"/>
              </a:ext>
            </a:extLst>
          </p:cNvPr>
          <p:cNvSpPr/>
          <p:nvPr/>
        </p:nvSpPr>
        <p:spPr>
          <a:xfrm rot="16200000">
            <a:off x="4485562" y="2854869"/>
            <a:ext cx="342900" cy="2608593"/>
          </a:xfrm>
          <a:prstGeom prst="leftBrace">
            <a:avLst>
              <a:gd name="adj1" fmla="val 0"/>
              <a:gd name="adj2" fmla="val 5000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Left Brace 45">
            <a:extLst>
              <a:ext uri="{FF2B5EF4-FFF2-40B4-BE49-F238E27FC236}">
                <a16:creationId xmlns:a16="http://schemas.microsoft.com/office/drawing/2014/main" id="{C9A9651E-65D5-4FA6-90B9-C6C7D80BEF75}"/>
              </a:ext>
            </a:extLst>
          </p:cNvPr>
          <p:cNvSpPr/>
          <p:nvPr/>
        </p:nvSpPr>
        <p:spPr>
          <a:xfrm rot="16200000">
            <a:off x="8693862" y="1415088"/>
            <a:ext cx="342900" cy="5488156"/>
          </a:xfrm>
          <a:prstGeom prst="leftBrace">
            <a:avLst>
              <a:gd name="adj1" fmla="val 0"/>
              <a:gd name="adj2" fmla="val 5000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Oval 46">
            <a:extLst>
              <a:ext uri="{FF2B5EF4-FFF2-40B4-BE49-F238E27FC236}">
                <a16:creationId xmlns:a16="http://schemas.microsoft.com/office/drawing/2014/main" id="{48C72D95-2B95-4D44-BA21-59CA4C662702}"/>
              </a:ext>
            </a:extLst>
          </p:cNvPr>
          <p:cNvSpPr/>
          <p:nvPr/>
        </p:nvSpPr>
        <p:spPr bwMode="auto">
          <a:xfrm rot="5400000">
            <a:off x="1714596" y="4253655"/>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a:solidFill>
                <a:schemeClr val="accent1"/>
              </a:solidFill>
              <a:ea typeface="Segoe UI" pitchFamily="34" charset="0"/>
              <a:cs typeface="Segoe UI" pitchFamily="34" charset="0"/>
            </a:endParaRPr>
          </a:p>
        </p:txBody>
      </p:sp>
      <p:sp>
        <p:nvSpPr>
          <p:cNvPr id="48" name="Oval 47">
            <a:extLst>
              <a:ext uri="{FF2B5EF4-FFF2-40B4-BE49-F238E27FC236}">
                <a16:creationId xmlns:a16="http://schemas.microsoft.com/office/drawing/2014/main" id="{1B1DD3B1-5C18-40AF-A6FF-7DE8D106FDB4}"/>
              </a:ext>
            </a:extLst>
          </p:cNvPr>
          <p:cNvSpPr/>
          <p:nvPr/>
        </p:nvSpPr>
        <p:spPr bwMode="auto">
          <a:xfrm rot="5400000">
            <a:off x="8684381" y="4253655"/>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err="1">
              <a:solidFill>
                <a:schemeClr val="accent1"/>
              </a:solidFill>
              <a:ea typeface="Segoe UI" pitchFamily="34" charset="0"/>
              <a:cs typeface="Segoe UI" pitchFamily="34" charset="0"/>
            </a:endParaRPr>
          </a:p>
        </p:txBody>
      </p:sp>
      <p:sp>
        <p:nvSpPr>
          <p:cNvPr id="49" name="Oval 48">
            <a:extLst>
              <a:ext uri="{FF2B5EF4-FFF2-40B4-BE49-F238E27FC236}">
                <a16:creationId xmlns:a16="http://schemas.microsoft.com/office/drawing/2014/main" id="{92F329D9-CF2A-4147-A912-546775195A39}"/>
              </a:ext>
            </a:extLst>
          </p:cNvPr>
          <p:cNvSpPr/>
          <p:nvPr/>
        </p:nvSpPr>
        <p:spPr bwMode="auto">
          <a:xfrm rot="5400000">
            <a:off x="4448271" y="4253655"/>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err="1">
              <a:solidFill>
                <a:schemeClr val="accent1"/>
              </a:solidFill>
              <a:ea typeface="Segoe UI" pitchFamily="34" charset="0"/>
              <a:cs typeface="Segoe UI" pitchFamily="34" charset="0"/>
            </a:endParaRPr>
          </a:p>
        </p:txBody>
      </p:sp>
    </p:spTree>
    <p:extLst>
      <p:ext uri="{BB962C8B-B14F-4D97-AF65-F5344CB8AC3E}">
        <p14:creationId xmlns:p14="http://schemas.microsoft.com/office/powerpoint/2010/main" val="383048152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318B54C-C054-4A2D-A6F5-8DA6898CF48A}"/>
              </a:ext>
            </a:extLst>
          </p:cNvPr>
          <p:cNvSpPr>
            <a:spLocks noGrp="1"/>
          </p:cNvSpPr>
          <p:nvPr>
            <p:ph type="title"/>
          </p:nvPr>
        </p:nvSpPr>
        <p:spPr/>
        <p:txBody>
          <a:bodyPr/>
          <a:lstStyle/>
          <a:p>
            <a:r>
              <a:rPr lang="en-US"/>
              <a:t>Understand learning content sources- SharePoint</a:t>
            </a:r>
          </a:p>
        </p:txBody>
      </p:sp>
      <p:sp>
        <p:nvSpPr>
          <p:cNvPr id="3" name="Rectangle: Top Corners Rounded 2">
            <a:extLst>
              <a:ext uri="{FF2B5EF4-FFF2-40B4-BE49-F238E27FC236}">
                <a16:creationId xmlns:a16="http://schemas.microsoft.com/office/drawing/2014/main" id="{B7D3A46F-8622-4A61-9D29-9B10B9A8542A}"/>
              </a:ext>
            </a:extLst>
          </p:cNvPr>
          <p:cNvSpPr/>
          <p:nvPr/>
        </p:nvSpPr>
        <p:spPr bwMode="auto">
          <a:xfrm rot="5400000">
            <a:off x="5301742" y="-3876493"/>
            <a:ext cx="1003301" cy="11606784"/>
          </a:xfrm>
          <a:prstGeom prst="round2Same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603504" numCol="1" spcCol="0" rtlCol="0" fromWordArt="0" anchor="ctr" anchorCtr="0" forceAA="0" compatLnSpc="1">
            <a:prstTxWarp prst="textNoShape">
              <a:avLst/>
            </a:prstTxWarp>
            <a:noAutofit/>
          </a:bodyPr>
          <a:lstStyle/>
          <a:p>
            <a:pPr marL="0" lvl="1" defTabSz="896181">
              <a:buSzPct val="90000"/>
            </a:pPr>
            <a:r>
              <a:rPr lang="en-US" sz="2000">
                <a:solidFill>
                  <a:schemeClr val="tx1"/>
                </a:solidFill>
                <a:latin typeface="+mj-lt"/>
                <a:cs typeface="Segoe UI" panose="020B0502040204020203" pitchFamily="34" charset="0"/>
              </a:rPr>
              <a:t>To include your organization’s custom learning content in the Microsoft Viva Learning app, you’ll need to migrate your content to a connected SharePoint site.</a:t>
            </a:r>
          </a:p>
        </p:txBody>
      </p:sp>
      <p:sp>
        <p:nvSpPr>
          <p:cNvPr id="4" name="Arrow: U-Turn 3">
            <a:extLst>
              <a:ext uri="{FF2B5EF4-FFF2-40B4-BE49-F238E27FC236}">
                <a16:creationId xmlns:a16="http://schemas.microsoft.com/office/drawing/2014/main" id="{80C2A99D-1B77-4AF6-873F-13ACA02878ED}"/>
              </a:ext>
            </a:extLst>
          </p:cNvPr>
          <p:cNvSpPr/>
          <p:nvPr/>
        </p:nvSpPr>
        <p:spPr bwMode="auto">
          <a:xfrm rot="5400000">
            <a:off x="5039305" y="-3769051"/>
            <a:ext cx="1313289" cy="11391900"/>
          </a:xfrm>
          <a:prstGeom prst="uturnArrow">
            <a:avLst>
              <a:gd name="adj1" fmla="val 25000"/>
              <a:gd name="adj2" fmla="val 0"/>
              <a:gd name="adj3" fmla="val 25000"/>
              <a:gd name="adj4" fmla="val 13988"/>
              <a:gd name="adj5" fmla="val 75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endParaRPr lang="en-US" sz="2000" err="1">
              <a:solidFill>
                <a:srgbClr val="FFFFFF"/>
              </a:solidFill>
              <a:ea typeface="Segoe UI" pitchFamily="34" charset="0"/>
              <a:cs typeface="Segoe UI" pitchFamily="34" charset="0"/>
            </a:endParaRPr>
          </a:p>
        </p:txBody>
      </p:sp>
      <p:sp>
        <p:nvSpPr>
          <p:cNvPr id="9" name="Arrow: U-Turn 8">
            <a:extLst>
              <a:ext uri="{FF2B5EF4-FFF2-40B4-BE49-F238E27FC236}">
                <a16:creationId xmlns:a16="http://schemas.microsoft.com/office/drawing/2014/main" id="{FBF40D54-8768-47B0-BE6A-46825C043216}"/>
              </a:ext>
            </a:extLst>
          </p:cNvPr>
          <p:cNvSpPr/>
          <p:nvPr/>
        </p:nvSpPr>
        <p:spPr bwMode="auto">
          <a:xfrm rot="16200000">
            <a:off x="6025463" y="-2853655"/>
            <a:ext cx="729340" cy="11603738"/>
          </a:xfrm>
          <a:prstGeom prst="uturnArrow">
            <a:avLst>
              <a:gd name="adj1" fmla="val 25000"/>
              <a:gd name="adj2" fmla="val 0"/>
              <a:gd name="adj3" fmla="val 25000"/>
              <a:gd name="adj4" fmla="val 17255"/>
              <a:gd name="adj5" fmla="val 75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endParaRPr lang="en-US" sz="2000" err="1">
              <a:solidFill>
                <a:srgbClr val="FFFFFF"/>
              </a:solidFill>
              <a:ea typeface="Segoe UI" pitchFamily="34" charset="0"/>
              <a:cs typeface="Segoe UI" pitchFamily="34" charset="0"/>
            </a:endParaRPr>
          </a:p>
        </p:txBody>
      </p:sp>
      <p:cxnSp>
        <p:nvCxnSpPr>
          <p:cNvPr id="7" name="Straight Connector 6">
            <a:extLst>
              <a:ext uri="{FF2B5EF4-FFF2-40B4-BE49-F238E27FC236}">
                <a16:creationId xmlns:a16="http://schemas.microsoft.com/office/drawing/2014/main" id="{27CC6161-56B1-4DEA-B031-7A3B8A46691B}"/>
              </a:ext>
            </a:extLst>
          </p:cNvPr>
          <p:cNvCxnSpPr>
            <a:cxnSpLocks/>
          </p:cNvCxnSpPr>
          <p:nvPr/>
        </p:nvCxnSpPr>
        <p:spPr>
          <a:xfrm>
            <a:off x="6221439" y="3323771"/>
            <a:ext cx="0" cy="3240542"/>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F879143-E039-4FA3-A048-D13C0E36E5D7}"/>
              </a:ext>
            </a:extLst>
          </p:cNvPr>
          <p:cNvCxnSpPr>
            <a:cxnSpLocks/>
          </p:cNvCxnSpPr>
          <p:nvPr/>
        </p:nvCxnSpPr>
        <p:spPr>
          <a:xfrm rot="16200000">
            <a:off x="3295652" y="1745229"/>
            <a:ext cx="0" cy="3135313"/>
          </a:xfrm>
          <a:prstGeom prst="line">
            <a:avLst/>
          </a:prstGeom>
          <a:ln w="25400">
            <a:solidFill>
              <a:schemeClr val="accent1"/>
            </a:solidFill>
            <a:prstDash val="solid"/>
            <a:headEnd type="none" w="lg" len="med"/>
            <a:tailEnd type="none" w="sm" len="sm"/>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BA6E0C9-CA96-4FE0-902B-8F5D406CE28E}"/>
              </a:ext>
            </a:extLst>
          </p:cNvPr>
          <p:cNvCxnSpPr>
            <a:cxnSpLocks/>
          </p:cNvCxnSpPr>
          <p:nvPr/>
        </p:nvCxnSpPr>
        <p:spPr>
          <a:xfrm rot="16200000">
            <a:off x="9124953" y="1745230"/>
            <a:ext cx="0" cy="3135313"/>
          </a:xfrm>
          <a:prstGeom prst="line">
            <a:avLst/>
          </a:prstGeom>
          <a:ln w="25400">
            <a:solidFill>
              <a:schemeClr val="accent1"/>
            </a:solidFill>
            <a:prstDash val="solid"/>
            <a:headEnd type="none" w="lg" len="med"/>
            <a:tailEnd type="none" w="sm" len="sm"/>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542E32E1-E688-4FAA-817C-C99A6568261D}"/>
              </a:ext>
            </a:extLst>
          </p:cNvPr>
          <p:cNvSpPr/>
          <p:nvPr/>
        </p:nvSpPr>
        <p:spPr>
          <a:xfrm>
            <a:off x="644580" y="3639678"/>
            <a:ext cx="5451417" cy="2616101"/>
          </a:xfrm>
          <a:prstGeom prst="rect">
            <a:avLst/>
          </a:prstGeom>
        </p:spPr>
        <p:txBody>
          <a:bodyPr wrap="square" lIns="0" tIns="0" rIns="0" bIns="0">
            <a:spAutoFit/>
          </a:bodyPr>
          <a:lstStyle/>
          <a:p>
            <a:pPr marL="200025" lvl="1" indent="-200025" defTabSz="896181">
              <a:spcAft>
                <a:spcPts val="600"/>
              </a:spcAft>
              <a:buClr>
                <a:schemeClr val="tx1"/>
              </a:buClr>
              <a:buSzPct val="100000"/>
              <a:buFont typeface="Arial" panose="020B0604020202020204" pitchFamily="34" charset="0"/>
              <a:buChar char="•"/>
            </a:pPr>
            <a:r>
              <a:rPr lang="en-US" sz="1600">
                <a:cs typeface="Segoe UI" panose="020B0502040204020203" pitchFamily="34" charset="0"/>
              </a:rPr>
              <a:t>Any content on the SharePoint list will be pulled into the app. Microsoft Viva Learning cannot distinguish what is learning content and what is not</a:t>
            </a:r>
          </a:p>
          <a:p>
            <a:pPr marL="200025" lvl="1" indent="-200025" defTabSz="896181">
              <a:spcAft>
                <a:spcPts val="600"/>
              </a:spcAft>
              <a:buClr>
                <a:schemeClr val="tx1"/>
              </a:buClr>
              <a:buSzPct val="100000"/>
              <a:buFont typeface="Arial" panose="020B0604020202020204" pitchFamily="34" charset="0"/>
              <a:buChar char="•"/>
            </a:pPr>
            <a:r>
              <a:rPr lang="en-US" sz="1600">
                <a:cs typeface="Segoe UI" panose="020B0502040204020203" pitchFamily="34" charset="0"/>
              </a:rPr>
              <a:t>Microsoft Viva Learning app can pull content nested into folders up to 5 layers</a:t>
            </a:r>
          </a:p>
          <a:p>
            <a:pPr marL="200025" lvl="1" indent="-200025" defTabSz="896181">
              <a:spcAft>
                <a:spcPts val="600"/>
              </a:spcAft>
              <a:buClr>
                <a:schemeClr val="tx1"/>
              </a:buClr>
              <a:buSzPct val="100000"/>
              <a:buFont typeface="Arial" panose="020B0604020202020204" pitchFamily="34" charset="0"/>
              <a:buChar char="•"/>
            </a:pPr>
            <a:r>
              <a:rPr lang="en-US" sz="1600" b="0" i="0">
                <a:solidFill>
                  <a:srgbClr val="171717"/>
                </a:solidFill>
                <a:effectLst/>
                <a:latin typeface="Segoe UI" panose="020B0502040204020203" pitchFamily="34" charset="0"/>
              </a:rPr>
              <a:t>To allow for broader contribution of learning content, a link to the SharePoint list will be available in the Viva Learning interface where users can request access to the list. Site owners and global administrators will have to grant access to the list. </a:t>
            </a:r>
            <a:endParaRPr lang="en-US" sz="1600">
              <a:cs typeface="Segoe UI" panose="020B0502040204020203" pitchFamily="34" charset="0"/>
            </a:endParaRPr>
          </a:p>
        </p:txBody>
      </p:sp>
      <p:sp>
        <p:nvSpPr>
          <p:cNvPr id="15" name="Rectangle 14">
            <a:extLst>
              <a:ext uri="{FF2B5EF4-FFF2-40B4-BE49-F238E27FC236}">
                <a16:creationId xmlns:a16="http://schemas.microsoft.com/office/drawing/2014/main" id="{39ADF4D0-26EF-48A9-B214-61ECFEBAA253}"/>
              </a:ext>
            </a:extLst>
          </p:cNvPr>
          <p:cNvSpPr/>
          <p:nvPr/>
        </p:nvSpPr>
        <p:spPr>
          <a:xfrm>
            <a:off x="2216152" y="2916689"/>
            <a:ext cx="2159000" cy="417061"/>
          </a:xfrm>
          <a:prstGeom prst="rect">
            <a:avLst/>
          </a:prstGeom>
        </p:spPr>
        <p:txBody>
          <a:bodyPr wrap="square" lIns="0" tIns="0" rIns="0" bIns="0">
            <a:noAutofit/>
          </a:bodyPr>
          <a:lstStyle/>
          <a:p>
            <a:pPr marL="0" lvl="1" algn="ctr" defTabSz="896181">
              <a:buSzPct val="90000"/>
            </a:pPr>
            <a:r>
              <a:rPr lang="en-US" sz="2000">
                <a:solidFill>
                  <a:schemeClr val="accent1"/>
                </a:solidFill>
                <a:latin typeface="+mj-lt"/>
                <a:cs typeface="Segoe UI" panose="020B0502040204020203" pitchFamily="34" charset="0"/>
              </a:rPr>
              <a:t>Things to know</a:t>
            </a:r>
          </a:p>
        </p:txBody>
      </p:sp>
      <p:sp>
        <p:nvSpPr>
          <p:cNvPr id="16" name="Rectangle 15">
            <a:extLst>
              <a:ext uri="{FF2B5EF4-FFF2-40B4-BE49-F238E27FC236}">
                <a16:creationId xmlns:a16="http://schemas.microsoft.com/office/drawing/2014/main" id="{0E9D869F-E00D-47F3-A909-FC0C02C55396}"/>
              </a:ext>
            </a:extLst>
          </p:cNvPr>
          <p:cNvSpPr/>
          <p:nvPr/>
        </p:nvSpPr>
        <p:spPr>
          <a:xfrm>
            <a:off x="8045453" y="2916689"/>
            <a:ext cx="2159000" cy="417061"/>
          </a:xfrm>
          <a:prstGeom prst="rect">
            <a:avLst/>
          </a:prstGeom>
        </p:spPr>
        <p:txBody>
          <a:bodyPr wrap="square" lIns="0" tIns="0" rIns="0" bIns="0">
            <a:noAutofit/>
          </a:bodyPr>
          <a:lstStyle/>
          <a:p>
            <a:pPr marL="0" lvl="1" algn="ctr" defTabSz="896181">
              <a:buSzPct val="90000"/>
            </a:pPr>
            <a:r>
              <a:rPr lang="en-US" sz="2000">
                <a:solidFill>
                  <a:schemeClr val="accent1"/>
                </a:solidFill>
                <a:latin typeface="+mj-lt"/>
                <a:cs typeface="Segoe UI" panose="020B0502040204020203" pitchFamily="34" charset="0"/>
              </a:rPr>
              <a:t>Tips</a:t>
            </a:r>
          </a:p>
        </p:txBody>
      </p:sp>
      <p:sp>
        <p:nvSpPr>
          <p:cNvPr id="17" name="Rectangle 16">
            <a:extLst>
              <a:ext uri="{FF2B5EF4-FFF2-40B4-BE49-F238E27FC236}">
                <a16:creationId xmlns:a16="http://schemas.microsoft.com/office/drawing/2014/main" id="{2614967F-7C1E-4A42-BF6C-FEE68712AC6E}"/>
              </a:ext>
            </a:extLst>
          </p:cNvPr>
          <p:cNvSpPr/>
          <p:nvPr/>
        </p:nvSpPr>
        <p:spPr>
          <a:xfrm>
            <a:off x="6346881" y="3639678"/>
            <a:ext cx="5529810" cy="2523768"/>
          </a:xfrm>
          <a:prstGeom prst="rect">
            <a:avLst/>
          </a:prstGeom>
        </p:spPr>
        <p:txBody>
          <a:bodyPr wrap="square" lIns="0" tIns="0" rIns="0" bIns="0">
            <a:spAutoFit/>
          </a:bodyPr>
          <a:lstStyle/>
          <a:p>
            <a:pPr marL="200025" lvl="1" indent="-200025" defTabSz="896181">
              <a:spcAft>
                <a:spcPts val="600"/>
              </a:spcAft>
              <a:buClr>
                <a:schemeClr val="tx1"/>
              </a:buClr>
              <a:buSzPct val="100000"/>
              <a:buFont typeface="Arial" panose="020B0604020202020204" pitchFamily="34" charset="0"/>
              <a:buChar char="•"/>
            </a:pPr>
            <a:r>
              <a:rPr lang="en-US" sz="1600">
                <a:cs typeface="Segoe UI" panose="020B0502040204020203" pitchFamily="34" charset="0"/>
              </a:rPr>
              <a:t>Set permissions to list to authorize who can add content</a:t>
            </a:r>
          </a:p>
          <a:p>
            <a:pPr marL="200025" lvl="1" indent="-200025" defTabSz="896181">
              <a:spcAft>
                <a:spcPts val="600"/>
              </a:spcAft>
              <a:buClr>
                <a:schemeClr val="tx1"/>
              </a:buClr>
              <a:buSzPct val="100000"/>
              <a:buFont typeface="Arial" panose="020B0604020202020204" pitchFamily="34" charset="0"/>
              <a:buChar char="•"/>
            </a:pPr>
            <a:r>
              <a:rPr lang="en-US" sz="1600">
                <a:cs typeface="Segoe UI" panose="020B0502040204020203" pitchFamily="34" charset="0"/>
              </a:rPr>
              <a:t>Ensure permissions are set for content item. These will still apply when content is accessed through the app</a:t>
            </a:r>
          </a:p>
          <a:p>
            <a:pPr marL="200025" lvl="1" indent="-200025" defTabSz="896181">
              <a:spcAft>
                <a:spcPts val="600"/>
              </a:spcAft>
              <a:buClr>
                <a:schemeClr val="tx1"/>
              </a:buClr>
              <a:buSzPct val="100000"/>
              <a:buFont typeface="Arial" panose="020B0604020202020204" pitchFamily="34" charset="0"/>
              <a:buChar char="•"/>
            </a:pPr>
            <a:r>
              <a:rPr lang="en-US" sz="1600">
                <a:cs typeface="Segoe UI" panose="020B0502040204020203" pitchFamily="34" charset="0"/>
              </a:rPr>
              <a:t>Prioritize content sources with high potential for tacit knowledge</a:t>
            </a:r>
          </a:p>
          <a:p>
            <a:pPr marL="200025" lvl="1" indent="-200025" defTabSz="896181">
              <a:spcAft>
                <a:spcPts val="600"/>
              </a:spcAft>
              <a:buClr>
                <a:schemeClr val="tx1"/>
              </a:buClr>
              <a:buSzPct val="100000"/>
              <a:buFont typeface="Arial" panose="020B0604020202020204" pitchFamily="34" charset="0"/>
              <a:buChar char="•"/>
            </a:pPr>
            <a:r>
              <a:rPr lang="en-US" sz="1600">
                <a:cs typeface="Segoe UI" panose="020B0502040204020203" pitchFamily="34" charset="0"/>
              </a:rPr>
              <a:t>Migrate to a modern site that includes Microsoft Teams</a:t>
            </a:r>
          </a:p>
          <a:p>
            <a:pPr marL="200025" lvl="1" indent="-200025" defTabSz="896181">
              <a:spcAft>
                <a:spcPts val="600"/>
              </a:spcAft>
              <a:buClr>
                <a:schemeClr val="tx1"/>
              </a:buClr>
              <a:buSzPct val="100000"/>
              <a:buFont typeface="Arial" panose="020B0604020202020204" pitchFamily="34" charset="0"/>
              <a:buChar char="•"/>
            </a:pPr>
            <a:r>
              <a:rPr lang="en-US" sz="1600">
                <a:cs typeface="Segoe UI" panose="020B0502040204020203" pitchFamily="34" charset="0"/>
              </a:rPr>
              <a:t>If using a migration tool, use one that will move user identities. This maintains properties such as Created By or Modified By after the migration</a:t>
            </a:r>
          </a:p>
        </p:txBody>
      </p:sp>
    </p:spTree>
    <p:extLst>
      <p:ext uri="{BB962C8B-B14F-4D97-AF65-F5344CB8AC3E}">
        <p14:creationId xmlns:p14="http://schemas.microsoft.com/office/powerpoint/2010/main" val="876090275"/>
      </p:ext>
    </p:extLst>
  </p:cSld>
  <p:clrMapOvr>
    <a:masterClrMapping/>
  </p:clrMapOvr>
  <mc:AlternateContent xmlns:mc="http://schemas.openxmlformats.org/markup-compatibility/2006">
    <mc:Choice xmlns:p159="http://schemas.microsoft.com/office/powerpoint/2015/09/main" Requires="p159">
      <p:transition spd="slow">
        <p159:morph option="byObject"/>
      </p:transition>
    </mc:Choice>
    <mc:Fallback>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E5AF171-209B-48A0-9231-2C62050284A5}"/>
              </a:ext>
            </a:extLst>
          </p:cNvPr>
          <p:cNvSpPr/>
          <p:nvPr/>
        </p:nvSpPr>
        <p:spPr>
          <a:xfrm>
            <a:off x="3717413" y="1595273"/>
            <a:ext cx="3058291" cy="3984805"/>
          </a:xfrm>
          <a:prstGeom prst="rect">
            <a:avLst/>
          </a:prstGeom>
          <a:noFill/>
          <a:ln w="19050">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lIns="182880" tIns="91440" rIns="182880" bIns="91440" rtlCol="0" anchor="t"/>
          <a:lstStyle/>
          <a:p>
            <a:pPr algn="ctr"/>
            <a:r>
              <a:rPr lang="en-US" sz="1600" b="1">
                <a:solidFill>
                  <a:schemeClr val="accent1"/>
                </a:solidFill>
                <a:latin typeface="Segoe UI"/>
              </a:rPr>
              <a:t>SP site specified by admin</a:t>
            </a:r>
          </a:p>
        </p:txBody>
      </p:sp>
      <p:sp>
        <p:nvSpPr>
          <p:cNvPr id="19" name="Rectangle 18">
            <a:extLst>
              <a:ext uri="{FF2B5EF4-FFF2-40B4-BE49-F238E27FC236}">
                <a16:creationId xmlns:a16="http://schemas.microsoft.com/office/drawing/2014/main" id="{6D9CA617-6BCE-46B8-B41E-8DA5D23569E0}"/>
              </a:ext>
            </a:extLst>
          </p:cNvPr>
          <p:cNvSpPr/>
          <p:nvPr/>
        </p:nvSpPr>
        <p:spPr>
          <a:xfrm>
            <a:off x="3941613" y="2115997"/>
            <a:ext cx="2628109" cy="3262144"/>
          </a:xfrm>
          <a:prstGeom prst="rect">
            <a:avLst/>
          </a:prstGeom>
          <a:noFill/>
          <a:ln w="22225">
            <a:solidFill>
              <a:schemeClr val="accent4"/>
            </a:solid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chemeClr val="accent4"/>
                </a:solidFill>
                <a:effectLst/>
                <a:uLnTx/>
                <a:uFillTx/>
                <a:latin typeface="+mj-lt"/>
                <a:ea typeface="+mn-ea"/>
                <a:cs typeface="+mn-cs"/>
              </a:rPr>
              <a:t>SP list (auto created</a:t>
            </a:r>
            <a:r>
              <a:rPr kumimoji="0" lang="en-US" sz="1600" b="1" i="0" u="none" strike="noStrike" kern="1200" cap="none" spc="0" normalizeH="0" baseline="0" noProof="0">
                <a:ln>
                  <a:noFill/>
                </a:ln>
                <a:solidFill>
                  <a:schemeClr val="accent1"/>
                </a:solidFill>
                <a:effectLst/>
                <a:uLnTx/>
                <a:uFillTx/>
                <a:latin typeface="+mj-lt"/>
                <a:ea typeface="+mn-ea"/>
                <a:cs typeface="+mn-cs"/>
              </a:rPr>
              <a:t>)</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__SP1 path__</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__SP2 path__</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__SP3 path__</a:t>
            </a:r>
          </a:p>
        </p:txBody>
      </p:sp>
      <p:sp>
        <p:nvSpPr>
          <p:cNvPr id="30" name="TextBox 29">
            <a:extLst>
              <a:ext uri="{FF2B5EF4-FFF2-40B4-BE49-F238E27FC236}">
                <a16:creationId xmlns:a16="http://schemas.microsoft.com/office/drawing/2014/main" id="{1BD17472-7DB9-4B68-91CD-A80CE6990CB4}"/>
              </a:ext>
            </a:extLst>
          </p:cNvPr>
          <p:cNvSpPr txBox="1"/>
          <p:nvPr/>
        </p:nvSpPr>
        <p:spPr>
          <a:xfrm>
            <a:off x="4173190" y="3929780"/>
            <a:ext cx="2240934" cy="369332"/>
          </a:xfrm>
          <a:prstGeom prst="rect">
            <a:avLst/>
          </a:prstGeom>
          <a:noFill/>
        </p:spPr>
        <p:txBody>
          <a:bodyPr wrap="square">
            <a:spAutoFit/>
          </a:bodyPr>
          <a:lstStyle/>
          <a:p>
            <a:pPr algn="ctr">
              <a:defRPr/>
            </a:pPr>
            <a:r>
              <a:rPr lang="en-US">
                <a:solidFill>
                  <a:srgbClr val="000000"/>
                </a:solidFill>
                <a:latin typeface="Segoe UI"/>
              </a:rPr>
              <a:t>__</a:t>
            </a:r>
            <a:r>
              <a:rPr lang="en-US" err="1">
                <a:solidFill>
                  <a:srgbClr val="000000"/>
                </a:solidFill>
                <a:latin typeface="Segoe UI"/>
              </a:rPr>
              <a:t>SPN</a:t>
            </a:r>
            <a:r>
              <a:rPr lang="en-US">
                <a:solidFill>
                  <a:srgbClr val="000000"/>
                </a:solidFill>
                <a:latin typeface="Segoe UI"/>
              </a:rPr>
              <a:t> path__</a:t>
            </a:r>
          </a:p>
        </p:txBody>
      </p:sp>
      <p:grpSp>
        <p:nvGrpSpPr>
          <p:cNvPr id="32" name="Group 31">
            <a:extLst>
              <a:ext uri="{FF2B5EF4-FFF2-40B4-BE49-F238E27FC236}">
                <a16:creationId xmlns:a16="http://schemas.microsoft.com/office/drawing/2014/main" id="{3FC2178F-0701-4F42-A145-329D00789327}"/>
              </a:ext>
            </a:extLst>
          </p:cNvPr>
          <p:cNvGrpSpPr/>
          <p:nvPr/>
        </p:nvGrpSpPr>
        <p:grpSpPr>
          <a:xfrm>
            <a:off x="5220722" y="3592825"/>
            <a:ext cx="75178" cy="309562"/>
            <a:chOff x="1955682" y="4237072"/>
            <a:chExt cx="80229" cy="376524"/>
          </a:xfrm>
        </p:grpSpPr>
        <p:sp>
          <p:nvSpPr>
            <p:cNvPr id="34" name="Oval 33">
              <a:extLst>
                <a:ext uri="{FF2B5EF4-FFF2-40B4-BE49-F238E27FC236}">
                  <a16:creationId xmlns:a16="http://schemas.microsoft.com/office/drawing/2014/main" id="{7678F806-F667-4B6F-9A59-ACE299E27F7F}"/>
                </a:ext>
              </a:extLst>
            </p:cNvPr>
            <p:cNvSpPr/>
            <p:nvPr/>
          </p:nvSpPr>
          <p:spPr bwMode="auto">
            <a:xfrm>
              <a:off x="1955682" y="4237072"/>
              <a:ext cx="80229" cy="9144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6" name="Oval 35">
              <a:extLst>
                <a:ext uri="{FF2B5EF4-FFF2-40B4-BE49-F238E27FC236}">
                  <a16:creationId xmlns:a16="http://schemas.microsoft.com/office/drawing/2014/main" id="{A4F688A6-E9F2-4673-90D8-3EE3F10A423B}"/>
                </a:ext>
              </a:extLst>
            </p:cNvPr>
            <p:cNvSpPr/>
            <p:nvPr/>
          </p:nvSpPr>
          <p:spPr bwMode="auto">
            <a:xfrm>
              <a:off x="1955682" y="4522156"/>
              <a:ext cx="80229" cy="9144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4DE4479-A49B-4B32-9F4A-5C5B4935DD66}"/>
              </a:ext>
            </a:extLst>
          </p:cNvPr>
          <p:cNvSpPr>
            <a:spLocks noGrp="1"/>
          </p:cNvSpPr>
          <p:nvPr>
            <p:ph type="title"/>
          </p:nvPr>
        </p:nvSpPr>
        <p:spPr>
          <a:xfrm>
            <a:off x="588263" y="457200"/>
            <a:ext cx="11018520" cy="775597"/>
          </a:xfrm>
        </p:spPr>
        <p:txBody>
          <a:bodyPr/>
          <a:lstStyle/>
          <a:p>
            <a:pPr defTabSz="914367">
              <a:lnSpc>
                <a:spcPct val="90000"/>
              </a:lnSpc>
              <a:spcBef>
                <a:spcPts val="1200"/>
              </a:spcBef>
            </a:pPr>
            <a:r>
              <a:rPr lang="en-US"/>
              <a:t>Understand learning content sources- SharePoint </a:t>
            </a:r>
            <a:r>
              <a:rPr lang="en-US">
                <a:latin typeface="Segoe UI Semibold" panose="020B0702040204020203" pitchFamily="34" charset="0"/>
                <a:cs typeface="Segoe UI Semibold" panose="020B0702040204020203" pitchFamily="34" charset="0"/>
              </a:rPr>
              <a:t> </a:t>
            </a:r>
            <a:br>
              <a:rPr lang="en-US">
                <a:latin typeface="Segoe UI Semibold" panose="020B0702040204020203" pitchFamily="34" charset="0"/>
                <a:cs typeface="Segoe UI Semibold" panose="020B0702040204020203" pitchFamily="34" charset="0"/>
              </a:rPr>
            </a:br>
            <a:r>
              <a:rPr lang="en-US" sz="2000" spc="0">
                <a:solidFill>
                  <a:schemeClr val="accent1"/>
                </a:solidFill>
                <a:latin typeface="+mn-lt"/>
              </a:rPr>
              <a:t>Diagram showing SharePoint integration</a:t>
            </a:r>
          </a:p>
        </p:txBody>
      </p:sp>
      <p:sp>
        <p:nvSpPr>
          <p:cNvPr id="5" name="Rectangle 4">
            <a:extLst>
              <a:ext uri="{FF2B5EF4-FFF2-40B4-BE49-F238E27FC236}">
                <a16:creationId xmlns:a16="http://schemas.microsoft.com/office/drawing/2014/main" id="{13386B99-B06B-41BD-B6D7-CAE0331B9F12}"/>
              </a:ext>
            </a:extLst>
          </p:cNvPr>
          <p:cNvSpPr/>
          <p:nvPr/>
        </p:nvSpPr>
        <p:spPr>
          <a:xfrm>
            <a:off x="584200" y="1610904"/>
            <a:ext cx="2778444" cy="650716"/>
          </a:xfrm>
          <a:prstGeom prst="rect">
            <a:avLst/>
          </a:prstGeom>
          <a:noFill/>
          <a:ln w="19050">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lIns="182880" tIns="91440" rIns="182880" bIns="91440" rtlCol="0" anchor="ctr"/>
          <a:lstStyle/>
          <a:p>
            <a:pPr algn="ctr"/>
            <a:r>
              <a:rPr lang="en-US" sz="1600">
                <a:solidFill>
                  <a:srgbClr val="000000"/>
                </a:solidFill>
                <a:latin typeface="Segoe UI"/>
              </a:rPr>
              <a:t>SP site/folder 1</a:t>
            </a:r>
          </a:p>
        </p:txBody>
      </p:sp>
      <p:sp>
        <p:nvSpPr>
          <p:cNvPr id="7" name="Rectangle 6">
            <a:extLst>
              <a:ext uri="{FF2B5EF4-FFF2-40B4-BE49-F238E27FC236}">
                <a16:creationId xmlns:a16="http://schemas.microsoft.com/office/drawing/2014/main" id="{4A372032-A84D-4785-BC41-73545D8BE136}"/>
              </a:ext>
            </a:extLst>
          </p:cNvPr>
          <p:cNvSpPr/>
          <p:nvPr/>
        </p:nvSpPr>
        <p:spPr>
          <a:xfrm>
            <a:off x="601786" y="2468572"/>
            <a:ext cx="2778444" cy="650716"/>
          </a:xfrm>
          <a:prstGeom prst="rect">
            <a:avLst/>
          </a:prstGeom>
          <a:noFill/>
          <a:ln w="19050">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lIns="182880" tIns="91440" rIns="182880" bIns="91440" rtlCol="0" anchor="ctr"/>
          <a:lstStyle/>
          <a:p>
            <a:pPr algn="ctr"/>
            <a:r>
              <a:rPr lang="en-US" sz="1600">
                <a:solidFill>
                  <a:srgbClr val="000000"/>
                </a:solidFill>
                <a:latin typeface="Segoe UI"/>
              </a:rPr>
              <a:t>SP site/folder 2</a:t>
            </a:r>
          </a:p>
        </p:txBody>
      </p:sp>
      <p:sp>
        <p:nvSpPr>
          <p:cNvPr id="9" name="Rectangle 8">
            <a:extLst>
              <a:ext uri="{FF2B5EF4-FFF2-40B4-BE49-F238E27FC236}">
                <a16:creationId xmlns:a16="http://schemas.microsoft.com/office/drawing/2014/main" id="{D7FAE89D-693A-40AF-9AF3-DEBFC9596986}"/>
              </a:ext>
            </a:extLst>
          </p:cNvPr>
          <p:cNvSpPr/>
          <p:nvPr/>
        </p:nvSpPr>
        <p:spPr>
          <a:xfrm>
            <a:off x="612180" y="3326241"/>
            <a:ext cx="2778444" cy="768948"/>
          </a:xfrm>
          <a:prstGeom prst="rect">
            <a:avLst/>
          </a:prstGeom>
          <a:noFill/>
          <a:ln w="19050">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lIns="182880" tIns="91440" rIns="182880" bIns="91440" rtlCol="0" anchor="ctr"/>
          <a:lstStyle/>
          <a:p>
            <a:pPr algn="ctr"/>
            <a:r>
              <a:rPr lang="en-US" sz="1600">
                <a:solidFill>
                  <a:srgbClr val="000000"/>
                </a:solidFill>
                <a:latin typeface="Segoe UI"/>
              </a:rPr>
              <a:t>SP site/folder 3</a:t>
            </a:r>
          </a:p>
        </p:txBody>
      </p:sp>
      <p:sp>
        <p:nvSpPr>
          <p:cNvPr id="11" name="Rectangle 10">
            <a:extLst>
              <a:ext uri="{FF2B5EF4-FFF2-40B4-BE49-F238E27FC236}">
                <a16:creationId xmlns:a16="http://schemas.microsoft.com/office/drawing/2014/main" id="{527DA262-CAB2-49BC-8D49-C4C61316FAEC}"/>
              </a:ext>
            </a:extLst>
          </p:cNvPr>
          <p:cNvSpPr/>
          <p:nvPr/>
        </p:nvSpPr>
        <p:spPr>
          <a:xfrm>
            <a:off x="612180" y="5754469"/>
            <a:ext cx="2778444" cy="646331"/>
          </a:xfrm>
          <a:prstGeom prst="rect">
            <a:avLst/>
          </a:prstGeom>
          <a:noFill/>
          <a:ln w="19050">
            <a:solidFill>
              <a:schemeClr val="bg1">
                <a:lumMod val="65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mn-ea"/>
                <a:cs typeface="+mn-cs"/>
              </a:rPr>
              <a:t>SP Learning Pathways</a:t>
            </a:r>
          </a:p>
        </p:txBody>
      </p:sp>
      <p:sp>
        <p:nvSpPr>
          <p:cNvPr id="15" name="Rectangle 14">
            <a:extLst>
              <a:ext uri="{FF2B5EF4-FFF2-40B4-BE49-F238E27FC236}">
                <a16:creationId xmlns:a16="http://schemas.microsoft.com/office/drawing/2014/main" id="{1381CC5F-7151-493E-B2BD-C4218F03FD51}"/>
              </a:ext>
            </a:extLst>
          </p:cNvPr>
          <p:cNvSpPr/>
          <p:nvPr/>
        </p:nvSpPr>
        <p:spPr>
          <a:xfrm>
            <a:off x="612180" y="4856387"/>
            <a:ext cx="2778444" cy="655827"/>
          </a:xfrm>
          <a:prstGeom prst="rect">
            <a:avLst/>
          </a:prstGeom>
          <a:noFill/>
          <a:ln w="19050">
            <a:solidFill>
              <a:schemeClr val="accent1"/>
            </a:solidFill>
          </a:ln>
        </p:spPr>
        <p:style>
          <a:lnRef idx="2">
            <a:schemeClr val="accent5">
              <a:shade val="50000"/>
            </a:schemeClr>
          </a:lnRef>
          <a:fillRef idx="1">
            <a:schemeClr val="accent5"/>
          </a:fillRef>
          <a:effectRef idx="0">
            <a:schemeClr val="accent5"/>
          </a:effectRef>
          <a:fontRef idx="minor">
            <a:schemeClr val="lt1"/>
          </a:fontRef>
        </p:style>
        <p:txBody>
          <a:bodyPr lIns="182880" tIns="91440" rIns="182880" bIns="91440" rtlCol="0" anchor="ctr"/>
          <a:lstStyle/>
          <a:p>
            <a:pPr algn="ctr"/>
            <a:r>
              <a:rPr lang="en-US" sz="1600">
                <a:solidFill>
                  <a:srgbClr val="000000"/>
                </a:solidFill>
                <a:latin typeface="Segoe UI"/>
              </a:rPr>
              <a:t>SP site/folder N</a:t>
            </a:r>
          </a:p>
        </p:txBody>
      </p:sp>
      <p:cxnSp>
        <p:nvCxnSpPr>
          <p:cNvPr id="21" name="Straight Arrow Connector 20">
            <a:extLst>
              <a:ext uri="{FF2B5EF4-FFF2-40B4-BE49-F238E27FC236}">
                <a16:creationId xmlns:a16="http://schemas.microsoft.com/office/drawing/2014/main" id="{D9D98595-5C7C-4FE9-81B6-A7504951A7E5}"/>
              </a:ext>
            </a:extLst>
          </p:cNvPr>
          <p:cNvCxnSpPr>
            <a:cxnSpLocks/>
          </p:cNvCxnSpPr>
          <p:nvPr/>
        </p:nvCxnSpPr>
        <p:spPr>
          <a:xfrm>
            <a:off x="3362644" y="1998894"/>
            <a:ext cx="1406206" cy="610956"/>
          </a:xfrm>
          <a:prstGeom prst="bentConnector3">
            <a:avLst>
              <a:gd name="adj1" fmla="val 53651"/>
            </a:avLst>
          </a:prstGeom>
          <a:ln>
            <a:solidFill>
              <a:schemeClr val="tx2">
                <a:lumMod val="50000"/>
                <a:lumOff val="5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23" name="Straight Arrow Connector 22">
            <a:extLst>
              <a:ext uri="{FF2B5EF4-FFF2-40B4-BE49-F238E27FC236}">
                <a16:creationId xmlns:a16="http://schemas.microsoft.com/office/drawing/2014/main" id="{00483978-926F-4535-A9C3-97635A9B2DCF}"/>
              </a:ext>
            </a:extLst>
          </p:cNvPr>
          <p:cNvCxnSpPr>
            <a:cxnSpLocks/>
          </p:cNvCxnSpPr>
          <p:nvPr/>
        </p:nvCxnSpPr>
        <p:spPr>
          <a:xfrm>
            <a:off x="3390624" y="2928903"/>
            <a:ext cx="1378226" cy="0"/>
          </a:xfrm>
          <a:prstGeom prst="straightConnector1">
            <a:avLst/>
          </a:prstGeom>
          <a:ln>
            <a:solidFill>
              <a:schemeClr val="tx2">
                <a:lumMod val="50000"/>
                <a:lumOff val="5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25" name="Straight Arrow Connector 24">
            <a:extLst>
              <a:ext uri="{FF2B5EF4-FFF2-40B4-BE49-F238E27FC236}">
                <a16:creationId xmlns:a16="http://schemas.microsoft.com/office/drawing/2014/main" id="{C99DA878-B548-4298-BC64-23FF982F3392}"/>
              </a:ext>
            </a:extLst>
          </p:cNvPr>
          <p:cNvCxnSpPr>
            <a:cxnSpLocks/>
          </p:cNvCxnSpPr>
          <p:nvPr/>
        </p:nvCxnSpPr>
        <p:spPr>
          <a:xfrm flipV="1">
            <a:off x="3399201" y="3277561"/>
            <a:ext cx="1350599" cy="433156"/>
          </a:xfrm>
          <a:prstGeom prst="bentConnector3">
            <a:avLst>
              <a:gd name="adj1" fmla="val 54203"/>
            </a:avLst>
          </a:prstGeom>
          <a:ln>
            <a:solidFill>
              <a:schemeClr val="tx2">
                <a:lumMod val="50000"/>
                <a:lumOff val="5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27" name="Straight Arrow Connector 26">
            <a:extLst>
              <a:ext uri="{FF2B5EF4-FFF2-40B4-BE49-F238E27FC236}">
                <a16:creationId xmlns:a16="http://schemas.microsoft.com/office/drawing/2014/main" id="{4243D626-886F-405A-8C13-EFFC813F28FF}"/>
              </a:ext>
            </a:extLst>
          </p:cNvPr>
          <p:cNvCxnSpPr>
            <a:cxnSpLocks/>
            <a:stCxn id="15" idx="3"/>
            <a:endCxn id="30" idx="2"/>
          </p:cNvCxnSpPr>
          <p:nvPr/>
        </p:nvCxnSpPr>
        <p:spPr>
          <a:xfrm flipV="1">
            <a:off x="3390624" y="4299112"/>
            <a:ext cx="1903033" cy="885189"/>
          </a:xfrm>
          <a:prstGeom prst="bentConnector2">
            <a:avLst/>
          </a:prstGeom>
          <a:ln>
            <a:solidFill>
              <a:schemeClr val="tx2">
                <a:lumMod val="50000"/>
                <a:lumOff val="5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1" name="Straight Arrow Connector 30">
            <a:extLst>
              <a:ext uri="{FF2B5EF4-FFF2-40B4-BE49-F238E27FC236}">
                <a16:creationId xmlns:a16="http://schemas.microsoft.com/office/drawing/2014/main" id="{418DBD47-D2F6-4ECE-9177-4D052107473A}"/>
              </a:ext>
            </a:extLst>
          </p:cNvPr>
          <p:cNvCxnSpPr>
            <a:cxnSpLocks/>
          </p:cNvCxnSpPr>
          <p:nvPr/>
        </p:nvCxnSpPr>
        <p:spPr>
          <a:xfrm>
            <a:off x="6569722" y="3739745"/>
            <a:ext cx="561121" cy="0"/>
          </a:xfrm>
          <a:prstGeom prst="straightConnector1">
            <a:avLst/>
          </a:prstGeom>
          <a:ln w="25400">
            <a:solidFill>
              <a:schemeClr val="bg2">
                <a:lumMod val="5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3" name="Straight Arrow Connector 32">
            <a:extLst>
              <a:ext uri="{FF2B5EF4-FFF2-40B4-BE49-F238E27FC236}">
                <a16:creationId xmlns:a16="http://schemas.microsoft.com/office/drawing/2014/main" id="{E775B062-6B7A-4EA7-B003-670195F45E9B}"/>
              </a:ext>
            </a:extLst>
          </p:cNvPr>
          <p:cNvCxnSpPr>
            <a:cxnSpLocks/>
          </p:cNvCxnSpPr>
          <p:nvPr/>
        </p:nvCxnSpPr>
        <p:spPr>
          <a:xfrm flipV="1">
            <a:off x="8742291" y="3739745"/>
            <a:ext cx="291585" cy="0"/>
          </a:xfrm>
          <a:prstGeom prst="straightConnector1">
            <a:avLst/>
          </a:prstGeom>
          <a:ln w="25400">
            <a:solidFill>
              <a:schemeClr val="bg2">
                <a:lumMod val="50000"/>
              </a:schemeClr>
            </a:solidFill>
            <a:tailEnd type="triangle"/>
          </a:ln>
        </p:spPr>
        <p:style>
          <a:lnRef idx="1">
            <a:schemeClr val="accent6"/>
          </a:lnRef>
          <a:fillRef idx="0">
            <a:schemeClr val="accent6"/>
          </a:fillRef>
          <a:effectRef idx="0">
            <a:schemeClr val="accent6"/>
          </a:effectRef>
          <a:fontRef idx="minor">
            <a:schemeClr val="tx1"/>
          </a:fontRef>
        </p:style>
      </p:cxnSp>
      <p:cxnSp>
        <p:nvCxnSpPr>
          <p:cNvPr id="39" name="Connector: Elbow 38">
            <a:extLst>
              <a:ext uri="{FF2B5EF4-FFF2-40B4-BE49-F238E27FC236}">
                <a16:creationId xmlns:a16="http://schemas.microsoft.com/office/drawing/2014/main" id="{978DFE2B-E0B6-42F9-A8DD-9D08D63F2A0B}"/>
              </a:ext>
            </a:extLst>
          </p:cNvPr>
          <p:cNvCxnSpPr>
            <a:cxnSpLocks/>
          </p:cNvCxnSpPr>
          <p:nvPr/>
        </p:nvCxnSpPr>
        <p:spPr>
          <a:xfrm flipV="1">
            <a:off x="3382763" y="3789555"/>
            <a:ext cx="3566160" cy="2286000"/>
          </a:xfrm>
          <a:prstGeom prst="bentConnector3">
            <a:avLst>
              <a:gd name="adj1" fmla="val 99960"/>
            </a:avLst>
          </a:prstGeom>
          <a:ln>
            <a:solidFill>
              <a:schemeClr val="tx2">
                <a:lumMod val="50000"/>
                <a:lumOff val="50000"/>
              </a:schemeClr>
            </a:solidFill>
            <a:prstDash val="dash"/>
            <a:tailEnd type="triangle"/>
          </a:ln>
        </p:spPr>
        <p:style>
          <a:lnRef idx="1">
            <a:schemeClr val="accent6"/>
          </a:lnRef>
          <a:fillRef idx="0">
            <a:schemeClr val="accent6"/>
          </a:fillRef>
          <a:effectRef idx="0">
            <a:schemeClr val="accent6"/>
          </a:effectRef>
          <a:fontRef idx="minor">
            <a:schemeClr val="tx1"/>
          </a:fontRef>
        </p:style>
      </p:cxnSp>
      <p:pic>
        <p:nvPicPr>
          <p:cNvPr id="41" name="Picture 40">
            <a:extLst>
              <a:ext uri="{FF2B5EF4-FFF2-40B4-BE49-F238E27FC236}">
                <a16:creationId xmlns:a16="http://schemas.microsoft.com/office/drawing/2014/main" id="{E9A82B05-EA95-4B27-BDDB-A2EE683CCDE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033876" y="2975151"/>
            <a:ext cx="2599468" cy="1462201"/>
          </a:xfrm>
          <a:prstGeom prst="rect">
            <a:avLst/>
          </a:prstGeom>
        </p:spPr>
      </p:pic>
      <p:grpSp>
        <p:nvGrpSpPr>
          <p:cNvPr id="10" name="Group 9">
            <a:extLst>
              <a:ext uri="{FF2B5EF4-FFF2-40B4-BE49-F238E27FC236}">
                <a16:creationId xmlns:a16="http://schemas.microsoft.com/office/drawing/2014/main" id="{9084A64A-529A-46CE-BA23-BB898F416EC2}"/>
              </a:ext>
            </a:extLst>
          </p:cNvPr>
          <p:cNvGrpSpPr/>
          <p:nvPr/>
        </p:nvGrpSpPr>
        <p:grpSpPr>
          <a:xfrm>
            <a:off x="1955682" y="4288833"/>
            <a:ext cx="91440" cy="376524"/>
            <a:chOff x="1955682" y="4122772"/>
            <a:chExt cx="91440" cy="376524"/>
          </a:xfrm>
        </p:grpSpPr>
        <p:sp>
          <p:nvSpPr>
            <p:cNvPr id="3" name="Oval 2">
              <a:extLst>
                <a:ext uri="{FF2B5EF4-FFF2-40B4-BE49-F238E27FC236}">
                  <a16:creationId xmlns:a16="http://schemas.microsoft.com/office/drawing/2014/main" id="{82E11DC3-B2C6-4D3D-9A69-6971C7D9660A}"/>
                </a:ext>
              </a:extLst>
            </p:cNvPr>
            <p:cNvSpPr/>
            <p:nvPr/>
          </p:nvSpPr>
          <p:spPr bwMode="auto">
            <a:xfrm>
              <a:off x="1955682" y="4122772"/>
              <a:ext cx="91440" cy="9144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7C786EC9-CE25-46BA-ACBF-54EA66F8C2F1}"/>
                </a:ext>
              </a:extLst>
            </p:cNvPr>
            <p:cNvSpPr/>
            <p:nvPr/>
          </p:nvSpPr>
          <p:spPr bwMode="auto">
            <a:xfrm>
              <a:off x="1955682" y="4407856"/>
              <a:ext cx="91440" cy="91440"/>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sp>
        <p:nvSpPr>
          <p:cNvPr id="54" name="Rectangle 53">
            <a:extLst>
              <a:ext uri="{FF2B5EF4-FFF2-40B4-BE49-F238E27FC236}">
                <a16:creationId xmlns:a16="http://schemas.microsoft.com/office/drawing/2014/main" id="{AF254A0B-225A-4C42-A3AE-48DEEB7ADB5F}"/>
              </a:ext>
            </a:extLst>
          </p:cNvPr>
          <p:cNvSpPr/>
          <p:nvPr/>
        </p:nvSpPr>
        <p:spPr>
          <a:xfrm>
            <a:off x="7130473" y="1330967"/>
            <a:ext cx="1565850" cy="2218555"/>
          </a:xfrm>
          <a:custGeom>
            <a:avLst/>
            <a:gdLst>
              <a:gd name="connsiteX0" fmla="*/ 0 w 1340845"/>
              <a:gd name="connsiteY0" fmla="*/ 0 h 2546797"/>
              <a:gd name="connsiteX1" fmla="*/ 1340845 w 1340845"/>
              <a:gd name="connsiteY1" fmla="*/ 0 h 2546797"/>
              <a:gd name="connsiteX2" fmla="*/ 1340845 w 1340845"/>
              <a:gd name="connsiteY2" fmla="*/ 2546797 h 2546797"/>
              <a:gd name="connsiteX3" fmla="*/ 0 w 1340845"/>
              <a:gd name="connsiteY3" fmla="*/ 2546797 h 2546797"/>
              <a:gd name="connsiteX4" fmla="*/ 0 w 1340845"/>
              <a:gd name="connsiteY4" fmla="*/ 0 h 2546797"/>
              <a:gd name="connsiteX0" fmla="*/ 0 w 1340845"/>
              <a:gd name="connsiteY0" fmla="*/ 2546797 h 2638237"/>
              <a:gd name="connsiteX1" fmla="*/ 0 w 1340845"/>
              <a:gd name="connsiteY1" fmla="*/ 0 h 2638237"/>
              <a:gd name="connsiteX2" fmla="*/ 1340845 w 1340845"/>
              <a:gd name="connsiteY2" fmla="*/ 0 h 2638237"/>
              <a:gd name="connsiteX3" fmla="*/ 1340845 w 1340845"/>
              <a:gd name="connsiteY3" fmla="*/ 2546797 h 2638237"/>
              <a:gd name="connsiteX4" fmla="*/ 91440 w 1340845"/>
              <a:gd name="connsiteY4" fmla="*/ 2638237 h 2638237"/>
              <a:gd name="connsiteX0" fmla="*/ 0 w 1340845"/>
              <a:gd name="connsiteY0" fmla="*/ 2546797 h 2546797"/>
              <a:gd name="connsiteX1" fmla="*/ 0 w 1340845"/>
              <a:gd name="connsiteY1" fmla="*/ 0 h 2546797"/>
              <a:gd name="connsiteX2" fmla="*/ 1340845 w 1340845"/>
              <a:gd name="connsiteY2" fmla="*/ 0 h 2546797"/>
              <a:gd name="connsiteX3" fmla="*/ 1340845 w 1340845"/>
              <a:gd name="connsiteY3" fmla="*/ 2546797 h 2546797"/>
            </a:gdLst>
            <a:ahLst/>
            <a:cxnLst>
              <a:cxn ang="0">
                <a:pos x="connsiteX0" y="connsiteY0"/>
              </a:cxn>
              <a:cxn ang="0">
                <a:pos x="connsiteX1" y="connsiteY1"/>
              </a:cxn>
              <a:cxn ang="0">
                <a:pos x="connsiteX2" y="connsiteY2"/>
              </a:cxn>
              <a:cxn ang="0">
                <a:pos x="connsiteX3" y="connsiteY3"/>
              </a:cxn>
            </a:cxnLst>
            <a:rect l="l" t="t" r="r" b="b"/>
            <a:pathLst>
              <a:path w="1340845" h="2546797">
                <a:moveTo>
                  <a:pt x="0" y="2546797"/>
                </a:moveTo>
                <a:lnTo>
                  <a:pt x="0" y="0"/>
                </a:lnTo>
                <a:lnTo>
                  <a:pt x="1340845" y="0"/>
                </a:lnTo>
                <a:lnTo>
                  <a:pt x="1340845" y="2546797"/>
                </a:lnTo>
              </a:path>
            </a:pathLst>
          </a:custGeom>
          <a:noFill/>
          <a:ln w="25400">
            <a:solidFill>
              <a:schemeClr val="accent4"/>
            </a:solidFill>
          </a:ln>
        </p:spPr>
        <p:style>
          <a:lnRef idx="2">
            <a:schemeClr val="accent5">
              <a:shade val="50000"/>
            </a:schemeClr>
          </a:lnRef>
          <a:fillRef idx="1">
            <a:schemeClr val="accent5"/>
          </a:fillRef>
          <a:effectRef idx="0">
            <a:schemeClr val="accent5"/>
          </a:effectRef>
          <a:fontRef idx="minor">
            <a:schemeClr val="lt1"/>
          </a:fontRef>
        </p:style>
        <p:txBody>
          <a:bodyPr lIns="182880" tIns="91440" rIns="18288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Rectangle 53">
            <a:extLst>
              <a:ext uri="{FF2B5EF4-FFF2-40B4-BE49-F238E27FC236}">
                <a16:creationId xmlns:a16="http://schemas.microsoft.com/office/drawing/2014/main" id="{C92E3EE0-2041-47B9-8691-368BB3682B88}"/>
              </a:ext>
            </a:extLst>
          </p:cNvPr>
          <p:cNvSpPr/>
          <p:nvPr/>
        </p:nvSpPr>
        <p:spPr>
          <a:xfrm flipV="1">
            <a:off x="7130473" y="3601726"/>
            <a:ext cx="1565850" cy="2546797"/>
          </a:xfrm>
          <a:custGeom>
            <a:avLst/>
            <a:gdLst>
              <a:gd name="connsiteX0" fmla="*/ 0 w 1340845"/>
              <a:gd name="connsiteY0" fmla="*/ 0 h 2546797"/>
              <a:gd name="connsiteX1" fmla="*/ 1340845 w 1340845"/>
              <a:gd name="connsiteY1" fmla="*/ 0 h 2546797"/>
              <a:gd name="connsiteX2" fmla="*/ 1340845 w 1340845"/>
              <a:gd name="connsiteY2" fmla="*/ 2546797 h 2546797"/>
              <a:gd name="connsiteX3" fmla="*/ 0 w 1340845"/>
              <a:gd name="connsiteY3" fmla="*/ 2546797 h 2546797"/>
              <a:gd name="connsiteX4" fmla="*/ 0 w 1340845"/>
              <a:gd name="connsiteY4" fmla="*/ 0 h 2546797"/>
              <a:gd name="connsiteX0" fmla="*/ 0 w 1340845"/>
              <a:gd name="connsiteY0" fmla="*/ 2546797 h 2638237"/>
              <a:gd name="connsiteX1" fmla="*/ 0 w 1340845"/>
              <a:gd name="connsiteY1" fmla="*/ 0 h 2638237"/>
              <a:gd name="connsiteX2" fmla="*/ 1340845 w 1340845"/>
              <a:gd name="connsiteY2" fmla="*/ 0 h 2638237"/>
              <a:gd name="connsiteX3" fmla="*/ 1340845 w 1340845"/>
              <a:gd name="connsiteY3" fmla="*/ 2546797 h 2638237"/>
              <a:gd name="connsiteX4" fmla="*/ 91440 w 1340845"/>
              <a:gd name="connsiteY4" fmla="*/ 2638237 h 2638237"/>
              <a:gd name="connsiteX0" fmla="*/ 0 w 1340845"/>
              <a:gd name="connsiteY0" fmla="*/ 2546797 h 2546797"/>
              <a:gd name="connsiteX1" fmla="*/ 0 w 1340845"/>
              <a:gd name="connsiteY1" fmla="*/ 0 h 2546797"/>
              <a:gd name="connsiteX2" fmla="*/ 1340845 w 1340845"/>
              <a:gd name="connsiteY2" fmla="*/ 0 h 2546797"/>
              <a:gd name="connsiteX3" fmla="*/ 1340845 w 1340845"/>
              <a:gd name="connsiteY3" fmla="*/ 2546797 h 2546797"/>
            </a:gdLst>
            <a:ahLst/>
            <a:cxnLst>
              <a:cxn ang="0">
                <a:pos x="connsiteX0" y="connsiteY0"/>
              </a:cxn>
              <a:cxn ang="0">
                <a:pos x="connsiteX1" y="connsiteY1"/>
              </a:cxn>
              <a:cxn ang="0">
                <a:pos x="connsiteX2" y="connsiteY2"/>
              </a:cxn>
              <a:cxn ang="0">
                <a:pos x="connsiteX3" y="connsiteY3"/>
              </a:cxn>
            </a:cxnLst>
            <a:rect l="l" t="t" r="r" b="b"/>
            <a:pathLst>
              <a:path w="1340845" h="2546797">
                <a:moveTo>
                  <a:pt x="0" y="2546797"/>
                </a:moveTo>
                <a:lnTo>
                  <a:pt x="0" y="0"/>
                </a:lnTo>
                <a:lnTo>
                  <a:pt x="1340845" y="0"/>
                </a:lnTo>
                <a:lnTo>
                  <a:pt x="1340845" y="2546797"/>
                </a:lnTo>
              </a:path>
            </a:pathLst>
          </a:custGeom>
          <a:noFill/>
          <a:ln w="25400">
            <a:solidFill>
              <a:schemeClr val="accent4"/>
            </a:solidFill>
            <a:prstDash val="dash"/>
          </a:ln>
        </p:spPr>
        <p:style>
          <a:lnRef idx="2">
            <a:schemeClr val="accent5">
              <a:shade val="50000"/>
            </a:schemeClr>
          </a:lnRef>
          <a:fillRef idx="1">
            <a:schemeClr val="accent5"/>
          </a:fillRef>
          <a:effectRef idx="0">
            <a:schemeClr val="accent5"/>
          </a:effectRef>
          <a:fontRef idx="minor">
            <a:schemeClr val="lt1"/>
          </a:fontRef>
        </p:style>
        <p:txBody>
          <a:bodyPr lIns="182880" tIns="91440" rIns="18288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TextBox 56">
            <a:extLst>
              <a:ext uri="{FF2B5EF4-FFF2-40B4-BE49-F238E27FC236}">
                <a16:creationId xmlns:a16="http://schemas.microsoft.com/office/drawing/2014/main" id="{8B968368-8A28-407C-930A-1D07BE4E2A84}"/>
              </a:ext>
            </a:extLst>
          </p:cNvPr>
          <p:cNvSpPr txBox="1"/>
          <p:nvPr/>
        </p:nvSpPr>
        <p:spPr>
          <a:xfrm>
            <a:off x="7260921" y="1413055"/>
            <a:ext cx="1359710" cy="2464708"/>
          </a:xfrm>
          <a:prstGeom prst="rect">
            <a:avLst/>
          </a:prstGeom>
          <a:solidFill>
            <a:schemeClr val="bg1">
              <a:lumMod val="95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enant’s learning content catalog</a:t>
            </a:r>
          </a:p>
        </p:txBody>
      </p:sp>
      <p:sp>
        <p:nvSpPr>
          <p:cNvPr id="64" name="TextBox 63">
            <a:extLst>
              <a:ext uri="{FF2B5EF4-FFF2-40B4-BE49-F238E27FC236}">
                <a16:creationId xmlns:a16="http://schemas.microsoft.com/office/drawing/2014/main" id="{2035B6ED-9610-43FD-8E70-3732916AA84D}"/>
              </a:ext>
            </a:extLst>
          </p:cNvPr>
          <p:cNvSpPr txBox="1"/>
          <p:nvPr/>
        </p:nvSpPr>
        <p:spPr>
          <a:xfrm>
            <a:off x="7260921" y="3946705"/>
            <a:ext cx="1359710" cy="2119729"/>
          </a:xfrm>
          <a:prstGeom prst="rect">
            <a:avLst/>
          </a:prstGeom>
          <a:solidFill>
            <a:schemeClr val="bg1">
              <a:lumMod val="95000"/>
            </a:schemeClr>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Title, thumbnails, … will be auto generated</a:t>
            </a:r>
          </a:p>
        </p:txBody>
      </p:sp>
    </p:spTree>
    <p:extLst>
      <p:ext uri="{BB962C8B-B14F-4D97-AF65-F5344CB8AC3E}">
        <p14:creationId xmlns:p14="http://schemas.microsoft.com/office/powerpoint/2010/main" val="33202672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917745-9B81-4AD7-B615-4E3933F02567}"/>
              </a:ext>
            </a:extLst>
          </p:cNvPr>
          <p:cNvSpPr>
            <a:spLocks noGrp="1"/>
          </p:cNvSpPr>
          <p:nvPr>
            <p:ph type="title"/>
          </p:nvPr>
        </p:nvSpPr>
        <p:spPr/>
        <p:txBody>
          <a:bodyPr/>
          <a:lstStyle/>
          <a:p>
            <a:r>
              <a:rPr lang="en-US" sz="3200"/>
              <a:t>Example deployment</a:t>
            </a:r>
          </a:p>
        </p:txBody>
      </p:sp>
      <p:sp>
        <p:nvSpPr>
          <p:cNvPr id="3" name="TextBox 2">
            <a:extLst>
              <a:ext uri="{FF2B5EF4-FFF2-40B4-BE49-F238E27FC236}">
                <a16:creationId xmlns:a16="http://schemas.microsoft.com/office/drawing/2014/main" id="{254F7183-E0AD-4D1C-855D-6598D3751BDA}"/>
              </a:ext>
            </a:extLst>
          </p:cNvPr>
          <p:cNvSpPr txBox="1"/>
          <p:nvPr/>
        </p:nvSpPr>
        <p:spPr>
          <a:xfrm>
            <a:off x="539812" y="2583544"/>
            <a:ext cx="11222651" cy="4382738"/>
          </a:xfrm>
          <a:prstGeom prst="rect">
            <a:avLst/>
          </a:prstGeom>
          <a:noFill/>
        </p:spPr>
        <p:txBody>
          <a:bodyPr wrap="square" lIns="182880" tIns="146304" rIns="182880" bIns="146304" rtlCol="0">
            <a:spAutoFit/>
          </a:bodyPr>
          <a:lstStyle/>
          <a:p>
            <a:pPr marR="0" lvl="0" algn="l" defTabSz="914400" rtl="0" eaLnBrk="1" fontAlgn="auto" latinLnBrk="0" hangingPunct="1">
              <a:lnSpc>
                <a:spcPct val="90000"/>
              </a:lnSpc>
              <a:spcBef>
                <a:spcPts val="0"/>
              </a:spcBef>
              <a:spcAft>
                <a:spcPts val="600"/>
              </a:spcAft>
              <a:buClrTx/>
              <a:buSzTx/>
              <a:tabLst/>
              <a:defRPr/>
            </a:pPr>
            <a:endPar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Setup SharePoint learning site: 5 hour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Setup LMS connection: 5 hour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a:gradFill>
                  <a:gsLst>
                    <a:gs pos="2917">
                      <a:srgbClr val="282828"/>
                    </a:gs>
                    <a:gs pos="30000">
                      <a:srgbClr val="282828"/>
                    </a:gs>
                  </a:gsLst>
                  <a:lin ang="5400000" scaled="0"/>
                </a:gradFill>
                <a:latin typeface="Segoe UI"/>
              </a:rPr>
              <a:t>Setup content provider: 4 hours (can be much less than this depending if setup instructions are followed correctly)</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Deploy Teams app (enabled by default): 2 hour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a:gradFill>
                  <a:gsLst>
                    <a:gs pos="2917">
                      <a:srgbClr val="282828"/>
                    </a:gs>
                    <a:gs pos="30000">
                      <a:srgbClr val="282828"/>
                    </a:gs>
                  </a:gsLst>
                  <a:lin ang="5400000" scaled="0"/>
                </a:gradFill>
                <a:latin typeface="Segoe UI"/>
              </a:rPr>
              <a:t>(Optional) Deploy licensed POC: 4 hours</a:t>
            </a:r>
            <a:endPar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Estimated total time: 16-20 hours</a:t>
            </a: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R="0" lvl="0" algn="l" defTabSz="914400" rtl="0" eaLnBrk="1" fontAlgn="auto" latinLnBrk="0" hangingPunct="1">
              <a:lnSpc>
                <a:spcPct val="90000"/>
              </a:lnSpc>
              <a:spcBef>
                <a:spcPts val="0"/>
              </a:spcBef>
              <a:spcAft>
                <a:spcPts val="600"/>
              </a:spcAft>
              <a:buClrTx/>
              <a:buSzTx/>
              <a:tabLst/>
              <a:defRPr/>
            </a:pPr>
            <a:endPar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342900" marR="0" lvl="0"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endParaRPr>
          </a:p>
        </p:txBody>
      </p:sp>
      <p:sp>
        <p:nvSpPr>
          <p:cNvPr id="5" name="Rectangle: Top Corners Rounded 4">
            <a:extLst>
              <a:ext uri="{FF2B5EF4-FFF2-40B4-BE49-F238E27FC236}">
                <a16:creationId xmlns:a16="http://schemas.microsoft.com/office/drawing/2014/main" id="{B496F21D-2F86-4A45-889F-20DE87EB8E10}"/>
              </a:ext>
            </a:extLst>
          </p:cNvPr>
          <p:cNvSpPr/>
          <p:nvPr/>
        </p:nvSpPr>
        <p:spPr bwMode="auto">
          <a:xfrm rot="5400000">
            <a:off x="5301742" y="-3876493"/>
            <a:ext cx="1003301" cy="11606784"/>
          </a:xfrm>
          <a:prstGeom prst="round2Same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603504" numCol="1" spcCol="0" rtlCol="0" fromWordArt="0" anchor="ctr" anchorCtr="0" forceAA="0" compatLnSpc="1">
            <a:prstTxWarp prst="textNoShape">
              <a:avLst/>
            </a:prstTxWarp>
            <a:noAutofit/>
          </a:bodyPr>
          <a:lstStyle/>
          <a:p>
            <a:pPr marR="0" lvl="0" algn="l" defTabSz="914400" rtl="0" eaLnBrk="1" fontAlgn="auto" latinLnBrk="0" hangingPunct="1">
              <a:lnSpc>
                <a:spcPct val="90000"/>
              </a:lnSpc>
              <a:spcBef>
                <a:spcPts val="0"/>
              </a:spcBef>
              <a:spcAft>
                <a:spcPts val="600"/>
              </a:spcAft>
              <a:buClrTx/>
              <a:buSzTx/>
              <a:tabLst/>
              <a:defRPr/>
            </a:pPr>
            <a:r>
              <a:rPr kumimoji="0" lang="en-US" sz="200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Here is an example of typical deployment tasks and times based on data from the initial set of customers using Viva Learning (per Microsoft internal data):</a:t>
            </a:r>
          </a:p>
        </p:txBody>
      </p:sp>
      <p:sp>
        <p:nvSpPr>
          <p:cNvPr id="7" name="Arrow: U-Turn 6">
            <a:extLst>
              <a:ext uri="{FF2B5EF4-FFF2-40B4-BE49-F238E27FC236}">
                <a16:creationId xmlns:a16="http://schemas.microsoft.com/office/drawing/2014/main" id="{679D3407-4F6C-49DF-B2ED-E8C3D390DD98}"/>
              </a:ext>
            </a:extLst>
          </p:cNvPr>
          <p:cNvSpPr/>
          <p:nvPr/>
        </p:nvSpPr>
        <p:spPr bwMode="auto">
          <a:xfrm rot="5400000">
            <a:off x="5039305" y="-3769051"/>
            <a:ext cx="1313289" cy="11391900"/>
          </a:xfrm>
          <a:prstGeom prst="uturnArrow">
            <a:avLst>
              <a:gd name="adj1" fmla="val 25000"/>
              <a:gd name="adj2" fmla="val 0"/>
              <a:gd name="adj3" fmla="val 25000"/>
              <a:gd name="adj4" fmla="val 13988"/>
              <a:gd name="adj5" fmla="val 100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endParaRPr lang="en-US" sz="20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1053759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A1EE3B-B758-4844-A243-F5E75EAC4E8D}"/>
              </a:ext>
              <a:ext uri="{C183D7F6-B498-43B3-948B-1728B52AA6E4}">
                <adec:decorative xmlns:adec="http://schemas.microsoft.com/office/drawing/2017/decorative" val="1"/>
              </a:ext>
            </a:extLst>
          </p:cNvPr>
          <p:cNvSpPr/>
          <p:nvPr/>
        </p:nvSpPr>
        <p:spPr bwMode="white">
          <a:xfrm>
            <a:off x="609601" y="-2"/>
            <a:ext cx="11582399" cy="68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82AD2E4A-3C57-40F7-8A60-0AD6B9EA998C}"/>
              </a:ext>
            </a:extLst>
          </p:cNvPr>
          <p:cNvGrpSpPr/>
          <p:nvPr/>
        </p:nvGrpSpPr>
        <p:grpSpPr>
          <a:xfrm>
            <a:off x="6882384" y="-1"/>
            <a:ext cx="5309616" cy="6858001"/>
            <a:chOff x="6882384" y="-1"/>
            <a:chExt cx="5309616" cy="6858001"/>
          </a:xfrm>
        </p:grpSpPr>
        <p:pic>
          <p:nvPicPr>
            <p:cNvPr id="14" name="Graphic 13" descr="Viva graphic">
              <a:extLst>
                <a:ext uri="{FF2B5EF4-FFF2-40B4-BE49-F238E27FC236}">
                  <a16:creationId xmlns:a16="http://schemas.microsoft.com/office/drawing/2014/main" id="{D81B13CB-DD7D-4199-90F6-BCBE4679B7C9}"/>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 t="37067" r="63457" b="24387"/>
            <a:stretch/>
          </p:blipFill>
          <p:spPr bwMode="ltGray">
            <a:xfrm>
              <a:off x="6882384" y="1257299"/>
              <a:ext cx="5309616" cy="5600701"/>
            </a:xfrm>
            <a:prstGeom prst="rect">
              <a:avLst/>
            </a:prstGeom>
          </p:spPr>
        </p:pic>
        <p:pic>
          <p:nvPicPr>
            <p:cNvPr id="15" name="Graphic 14" descr="Viva graphic">
              <a:extLst>
                <a:ext uri="{FF2B5EF4-FFF2-40B4-BE49-F238E27FC236}">
                  <a16:creationId xmlns:a16="http://schemas.microsoft.com/office/drawing/2014/main" id="{53AE230C-92AC-4825-B8EB-8F8B34B8B8E8}"/>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19363" r="63456" b="59769"/>
            <a:stretch/>
          </p:blipFill>
          <p:spPr bwMode="ltGray">
            <a:xfrm>
              <a:off x="6882384" y="-1"/>
              <a:ext cx="5309616" cy="3032125"/>
            </a:xfrm>
            <a:prstGeom prst="rect">
              <a:avLst/>
            </a:prstGeom>
          </p:spPr>
        </p:pic>
      </p:grpSp>
      <p:sp>
        <p:nvSpPr>
          <p:cNvPr id="2" name="Title 1"/>
          <p:cNvSpPr>
            <a:spLocks noGrp="1"/>
          </p:cNvSpPr>
          <p:nvPr>
            <p:ph type="title" idx="4294967295"/>
          </p:nvPr>
        </p:nvSpPr>
        <p:spPr>
          <a:xfrm>
            <a:off x="1458913" y="3059669"/>
            <a:ext cx="10733087" cy="738664"/>
          </a:xfrm>
        </p:spPr>
        <p:txBody>
          <a:bodyPr anchor="ctr"/>
          <a:lstStyle/>
          <a:p>
            <a:r>
              <a:rPr lang="en-US" sz="4800"/>
              <a:t>Train and Adopt</a:t>
            </a:r>
            <a:endParaRPr lang="en-US" sz="4000"/>
          </a:p>
        </p:txBody>
      </p:sp>
      <p:sp>
        <p:nvSpPr>
          <p:cNvPr id="9" name="Rectangle 8">
            <a:extLst>
              <a:ext uri="{FF2B5EF4-FFF2-40B4-BE49-F238E27FC236}">
                <a16:creationId xmlns:a16="http://schemas.microsoft.com/office/drawing/2014/main" id="{C543855F-6763-475C-8D44-CB4367D2B2D8}"/>
              </a:ext>
              <a:ext uri="{C183D7F6-B498-43B3-948B-1728B52AA6E4}">
                <adec:decorative xmlns:adec="http://schemas.microsoft.com/office/drawing/2017/decorative" val="1"/>
              </a:ext>
            </a:extLst>
          </p:cNvPr>
          <p:cNvSpPr/>
          <p:nvPr/>
        </p:nvSpPr>
        <p:spPr bwMode="white">
          <a:xfrm>
            <a:off x="1" y="0"/>
            <a:ext cx="609600" cy="686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38992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AA09E42-B107-440A-BABC-87249CFC0581}"/>
              </a:ext>
              <a:ext uri="{C183D7F6-B498-43B3-948B-1728B52AA6E4}">
                <adec:decorative xmlns:adec="http://schemas.microsoft.com/office/drawing/2017/decorative" val="1"/>
              </a:ext>
            </a:extLst>
          </p:cNvPr>
          <p:cNvSpPr/>
          <p:nvPr/>
        </p:nvSpPr>
        <p:spPr bwMode="white">
          <a:xfrm>
            <a:off x="1" y="1409699"/>
            <a:ext cx="733424" cy="49641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07" name="Picture 106" descr="Old woman holding books">
            <a:extLst>
              <a:ext uri="{FF2B5EF4-FFF2-40B4-BE49-F238E27FC236}">
                <a16:creationId xmlns:a16="http://schemas.microsoft.com/office/drawing/2014/main" id="{C787E23B-7B8C-474C-A851-6F82D073A3D0}"/>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6550967" y="4897793"/>
            <a:ext cx="3919387" cy="1957563"/>
          </a:xfrm>
          <a:custGeom>
            <a:avLst/>
            <a:gdLst>
              <a:gd name="connsiteX0" fmla="*/ 1959694 w 3919387"/>
              <a:gd name="connsiteY0" fmla="*/ 0 h 1957563"/>
              <a:gd name="connsiteX1" fmla="*/ 2069086 w 3919387"/>
              <a:gd name="connsiteY1" fmla="*/ 45312 h 1957563"/>
              <a:gd name="connsiteX2" fmla="*/ 3874590 w 3919387"/>
              <a:gd name="connsiteY2" fmla="*/ 1850817 h 1957563"/>
              <a:gd name="connsiteX3" fmla="*/ 3908574 w 3919387"/>
              <a:gd name="connsiteY3" fmla="*/ 1901994 h 1957563"/>
              <a:gd name="connsiteX4" fmla="*/ 3919387 w 3919387"/>
              <a:gd name="connsiteY4" fmla="*/ 1957563 h 1957563"/>
              <a:gd name="connsiteX5" fmla="*/ 0 w 3919387"/>
              <a:gd name="connsiteY5" fmla="*/ 1957563 h 1957563"/>
              <a:gd name="connsiteX6" fmla="*/ 10813 w 3919387"/>
              <a:gd name="connsiteY6" fmla="*/ 1901994 h 1957563"/>
              <a:gd name="connsiteX7" fmla="*/ 44797 w 3919387"/>
              <a:gd name="connsiteY7" fmla="*/ 1850817 h 1957563"/>
              <a:gd name="connsiteX8" fmla="*/ 1850301 w 3919387"/>
              <a:gd name="connsiteY8" fmla="*/ 45312 h 1957563"/>
              <a:gd name="connsiteX9" fmla="*/ 1959694 w 3919387"/>
              <a:gd name="connsiteY9" fmla="*/ 0 h 195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9387" h="1957563">
                <a:moveTo>
                  <a:pt x="1959694" y="0"/>
                </a:moveTo>
                <a:cubicBezTo>
                  <a:pt x="1999286" y="0"/>
                  <a:pt x="2038878" y="15104"/>
                  <a:pt x="2069086" y="45312"/>
                </a:cubicBezTo>
                <a:lnTo>
                  <a:pt x="3874590" y="1850817"/>
                </a:lnTo>
                <a:cubicBezTo>
                  <a:pt x="3889694" y="1865921"/>
                  <a:pt x="3901022" y="1883371"/>
                  <a:pt x="3908574" y="1901994"/>
                </a:cubicBezTo>
                <a:lnTo>
                  <a:pt x="3919387" y="1957563"/>
                </a:lnTo>
                <a:lnTo>
                  <a:pt x="0" y="1957563"/>
                </a:lnTo>
                <a:lnTo>
                  <a:pt x="10813" y="1901994"/>
                </a:lnTo>
                <a:cubicBezTo>
                  <a:pt x="18365" y="1883371"/>
                  <a:pt x="29693" y="1865921"/>
                  <a:pt x="44797" y="1850817"/>
                </a:cubicBezTo>
                <a:lnTo>
                  <a:pt x="1850301" y="45312"/>
                </a:lnTo>
                <a:cubicBezTo>
                  <a:pt x="1880509" y="15104"/>
                  <a:pt x="1920101" y="0"/>
                  <a:pt x="1959694" y="0"/>
                </a:cubicBezTo>
                <a:close/>
              </a:path>
            </a:pathLst>
          </a:custGeom>
        </p:spPr>
      </p:pic>
      <p:pic>
        <p:nvPicPr>
          <p:cNvPr id="106" name="Picture 105" descr="Old woman holding books">
            <a:extLst>
              <a:ext uri="{FF2B5EF4-FFF2-40B4-BE49-F238E27FC236}">
                <a16:creationId xmlns:a16="http://schemas.microsoft.com/office/drawing/2014/main" id="{E56D8859-B7C5-46ED-94B7-279D904AC468}"/>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a:fillRect/>
          </a:stretch>
        </p:blipFill>
        <p:spPr>
          <a:xfrm>
            <a:off x="10742711" y="5498539"/>
            <a:ext cx="1449289" cy="1356817"/>
          </a:xfrm>
          <a:custGeom>
            <a:avLst/>
            <a:gdLst>
              <a:gd name="connsiteX0" fmla="*/ 1411340 w 1457708"/>
              <a:gd name="connsiteY0" fmla="*/ 0 h 1364699"/>
              <a:gd name="connsiteX1" fmla="*/ 1454213 w 1457708"/>
              <a:gd name="connsiteY1" fmla="*/ 8343 h 1364699"/>
              <a:gd name="connsiteX2" fmla="*/ 1457708 w 1457708"/>
              <a:gd name="connsiteY2" fmla="*/ 10664 h 1364699"/>
              <a:gd name="connsiteX3" fmla="*/ 1457708 w 1457708"/>
              <a:gd name="connsiteY3" fmla="*/ 1364699 h 1364699"/>
              <a:gd name="connsiteX4" fmla="*/ 0 w 1457708"/>
              <a:gd name="connsiteY4" fmla="*/ 1364699 h 1364699"/>
              <a:gd name="connsiteX5" fmla="*/ 1091 w 1457708"/>
              <a:gd name="connsiteY5" fmla="*/ 1363056 h 1364699"/>
              <a:gd name="connsiteX6" fmla="*/ 1330776 w 1457708"/>
              <a:gd name="connsiteY6" fmla="*/ 33371 h 1364699"/>
              <a:gd name="connsiteX7" fmla="*/ 1411340 w 1457708"/>
              <a:gd name="connsiteY7" fmla="*/ 0 h 136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708" h="1364699">
                <a:moveTo>
                  <a:pt x="1411340" y="0"/>
                </a:moveTo>
                <a:cubicBezTo>
                  <a:pt x="1425919" y="0"/>
                  <a:pt x="1440498" y="2781"/>
                  <a:pt x="1454213" y="8343"/>
                </a:cubicBezTo>
                <a:lnTo>
                  <a:pt x="1457708" y="10664"/>
                </a:lnTo>
                <a:lnTo>
                  <a:pt x="1457708" y="1364699"/>
                </a:lnTo>
                <a:lnTo>
                  <a:pt x="0" y="1364699"/>
                </a:lnTo>
                <a:lnTo>
                  <a:pt x="1091" y="1363056"/>
                </a:lnTo>
                <a:lnTo>
                  <a:pt x="1330776" y="33371"/>
                </a:lnTo>
                <a:cubicBezTo>
                  <a:pt x="1353023" y="11124"/>
                  <a:pt x="1382181" y="0"/>
                  <a:pt x="1411340" y="0"/>
                </a:cubicBezTo>
                <a:close/>
              </a:path>
            </a:pathLst>
          </a:custGeom>
        </p:spPr>
      </p:pic>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p:txBody>
          <a:bodyPr/>
          <a:lstStyle/>
          <a:p>
            <a:r>
              <a:rPr lang="en-US"/>
              <a:t>Build training strategy</a:t>
            </a:r>
          </a:p>
        </p:txBody>
      </p:sp>
      <p:pic>
        <p:nvPicPr>
          <p:cNvPr id="102" name="Picture Placeholder 101" descr="Old woman holding books">
            <a:extLst>
              <a:ext uri="{FF2B5EF4-FFF2-40B4-BE49-F238E27FC236}">
                <a16:creationId xmlns:a16="http://schemas.microsoft.com/office/drawing/2014/main" id="{72CD33D6-DEE4-42F6-8822-7E0A3B7C1ED4}"/>
              </a:ext>
            </a:extLst>
          </p:cNvPr>
          <p:cNvPicPr>
            <a:picLocks noGrp="1" noChangeAspect="1"/>
          </p:cNvPicPr>
          <p:nvPr>
            <p:ph type="pic" sz="quarter" idx="4294967295"/>
          </p:nvPr>
        </p:nvPicPr>
        <p:blipFill>
          <a:blip r:embed="rId5" cstate="hqprint">
            <a:extLst>
              <a:ext uri="{28A0092B-C50C-407E-A947-70E740481C1C}">
                <a14:useLocalDpi xmlns:a14="http://schemas.microsoft.com/office/drawing/2010/main" val="0"/>
              </a:ext>
            </a:extLst>
          </a:blip>
          <a:srcRect l="12278" t="15032" r="37000" b="17533"/>
          <a:stretch>
            <a:fillRect/>
          </a:stretch>
        </p:blipFill>
        <p:spPr>
          <a:xfrm>
            <a:off x="6806431" y="0"/>
            <a:ext cx="5385569" cy="6612709"/>
          </a:xfrm>
          <a:custGeom>
            <a:avLst/>
            <a:gdLst>
              <a:gd name="connsiteX0" fmla="*/ 2665887 w 5385569"/>
              <a:gd name="connsiteY0" fmla="*/ 0 h 6612709"/>
              <a:gd name="connsiteX1" fmla="*/ 4977879 w 5385569"/>
              <a:gd name="connsiteY1" fmla="*/ 0 h 6612709"/>
              <a:gd name="connsiteX2" fmla="*/ 5385569 w 5385569"/>
              <a:gd name="connsiteY2" fmla="*/ 407690 h 6612709"/>
              <a:gd name="connsiteX3" fmla="*/ 5385569 w 5385569"/>
              <a:gd name="connsiteY3" fmla="*/ 5173963 h 6612709"/>
              <a:gd name="connsiteX4" fmla="*/ 4035169 w 5385569"/>
              <a:gd name="connsiteY4" fmla="*/ 6524363 h 6612709"/>
              <a:gd name="connsiteX5" fmla="*/ 3608597 w 5385569"/>
              <a:gd name="connsiteY5" fmla="*/ 6524363 h 6612709"/>
              <a:gd name="connsiteX6" fmla="*/ 88347 w 5385569"/>
              <a:gd name="connsiteY6" fmla="*/ 3004112 h 6612709"/>
              <a:gd name="connsiteX7" fmla="*/ 88347 w 5385569"/>
              <a:gd name="connsiteY7" fmla="*/ 2577540 h 661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5569" h="6612709">
                <a:moveTo>
                  <a:pt x="2665887" y="0"/>
                </a:moveTo>
                <a:lnTo>
                  <a:pt x="4977879" y="0"/>
                </a:lnTo>
                <a:lnTo>
                  <a:pt x="5385569" y="407690"/>
                </a:lnTo>
                <a:lnTo>
                  <a:pt x="5385569" y="5173963"/>
                </a:lnTo>
                <a:lnTo>
                  <a:pt x="4035169" y="6524363"/>
                </a:lnTo>
                <a:cubicBezTo>
                  <a:pt x="3917374" y="6642158"/>
                  <a:pt x="3726392" y="6642158"/>
                  <a:pt x="3608597" y="6524363"/>
                </a:cubicBezTo>
                <a:lnTo>
                  <a:pt x="88347" y="3004112"/>
                </a:lnTo>
                <a:cubicBezTo>
                  <a:pt x="-29448" y="2886318"/>
                  <a:pt x="-29448" y="2695335"/>
                  <a:pt x="88347" y="2577540"/>
                </a:cubicBezTo>
                <a:close/>
              </a:path>
            </a:pathLst>
          </a:custGeom>
        </p:spPr>
      </p:pic>
      <p:pic>
        <p:nvPicPr>
          <p:cNvPr id="98" name="Picture 97" descr="Old woman holding books">
            <a:extLst>
              <a:ext uri="{FF2B5EF4-FFF2-40B4-BE49-F238E27FC236}">
                <a16:creationId xmlns:a16="http://schemas.microsoft.com/office/drawing/2014/main" id="{854ED1B1-2E4E-433D-90A7-307E7A651FAE}"/>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5548074" y="0"/>
            <a:ext cx="3772713" cy="1822276"/>
          </a:xfrm>
          <a:custGeom>
            <a:avLst/>
            <a:gdLst>
              <a:gd name="connsiteX0" fmla="*/ 0 w 3772713"/>
              <a:gd name="connsiteY0" fmla="*/ 0 h 1822276"/>
              <a:gd name="connsiteX1" fmla="*/ 3772713 w 3772713"/>
              <a:gd name="connsiteY1" fmla="*/ 0 h 1822276"/>
              <a:gd name="connsiteX2" fmla="*/ 1995749 w 3772713"/>
              <a:gd name="connsiteY2" fmla="*/ 1776964 h 1822276"/>
              <a:gd name="connsiteX3" fmla="*/ 1776965 w 3772713"/>
              <a:gd name="connsiteY3" fmla="*/ 1776964 h 1822276"/>
            </a:gdLst>
            <a:ahLst/>
            <a:cxnLst>
              <a:cxn ang="0">
                <a:pos x="connsiteX0" y="connsiteY0"/>
              </a:cxn>
              <a:cxn ang="0">
                <a:pos x="connsiteX1" y="connsiteY1"/>
              </a:cxn>
              <a:cxn ang="0">
                <a:pos x="connsiteX2" y="connsiteY2"/>
              </a:cxn>
              <a:cxn ang="0">
                <a:pos x="connsiteX3" y="connsiteY3"/>
              </a:cxn>
            </a:cxnLst>
            <a:rect l="l" t="t" r="r" b="b"/>
            <a:pathLst>
              <a:path w="3772713" h="1822276">
                <a:moveTo>
                  <a:pt x="0" y="0"/>
                </a:moveTo>
                <a:lnTo>
                  <a:pt x="3772713" y="0"/>
                </a:lnTo>
                <a:lnTo>
                  <a:pt x="1995749" y="1776964"/>
                </a:lnTo>
                <a:cubicBezTo>
                  <a:pt x="1935333" y="1837380"/>
                  <a:pt x="1837380" y="1837380"/>
                  <a:pt x="1776965" y="1776964"/>
                </a:cubicBezTo>
                <a:close/>
              </a:path>
            </a:pathLst>
          </a:custGeom>
        </p:spPr>
      </p:pic>
      <p:grpSp>
        <p:nvGrpSpPr>
          <p:cNvPr id="89" name="Group 88">
            <a:extLst>
              <a:ext uri="{FF2B5EF4-FFF2-40B4-BE49-F238E27FC236}">
                <a16:creationId xmlns:a16="http://schemas.microsoft.com/office/drawing/2014/main" id="{752773E0-1276-4494-9045-E60F214DF8D0}"/>
              </a:ext>
            </a:extLst>
          </p:cNvPr>
          <p:cNvGrpSpPr/>
          <p:nvPr/>
        </p:nvGrpSpPr>
        <p:grpSpPr>
          <a:xfrm>
            <a:off x="0" y="1219199"/>
            <a:ext cx="12104914" cy="5345113"/>
            <a:chOff x="0" y="1219199"/>
            <a:chExt cx="12104914" cy="5345113"/>
          </a:xfrm>
        </p:grpSpPr>
        <p:sp>
          <p:nvSpPr>
            <p:cNvPr id="22" name="Arrow: Bent 21">
              <a:extLst>
                <a:ext uri="{FF2B5EF4-FFF2-40B4-BE49-F238E27FC236}">
                  <a16:creationId xmlns:a16="http://schemas.microsoft.com/office/drawing/2014/main" id="{AD879C74-B2F9-48D7-90B4-1FAAD3180D93}"/>
                </a:ext>
              </a:extLst>
            </p:cNvPr>
            <p:cNvSpPr/>
            <p:nvPr/>
          </p:nvSpPr>
          <p:spPr bwMode="auto">
            <a:xfrm flipV="1">
              <a:off x="733425" y="5569630"/>
              <a:ext cx="11371489" cy="994682"/>
            </a:xfrm>
            <a:prstGeom prst="bentArrow">
              <a:avLst>
                <a:gd name="adj1" fmla="val 25000"/>
                <a:gd name="adj2" fmla="val 0"/>
                <a:gd name="adj3" fmla="val 25000"/>
                <a:gd name="adj4" fmla="val 1793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Arrow: Bent 3">
              <a:extLst>
                <a:ext uri="{FF2B5EF4-FFF2-40B4-BE49-F238E27FC236}">
                  <a16:creationId xmlns:a16="http://schemas.microsoft.com/office/drawing/2014/main" id="{EAE0C3BC-D8C4-40C8-B9A7-299410243805}"/>
                </a:ext>
              </a:extLst>
            </p:cNvPr>
            <p:cNvSpPr/>
            <p:nvPr/>
          </p:nvSpPr>
          <p:spPr bwMode="auto">
            <a:xfrm rot="5400000">
              <a:off x="-1970089" y="3189288"/>
              <a:ext cx="4673603" cy="733425"/>
            </a:xfrm>
            <a:prstGeom prst="bentArrow">
              <a:avLst>
                <a:gd name="adj1" fmla="val 25000"/>
                <a:gd name="adj2" fmla="val 0"/>
                <a:gd name="adj3" fmla="val 25000"/>
                <a:gd name="adj4" fmla="val 1793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grpSp>
        <p:nvGrpSpPr>
          <p:cNvPr id="88" name="Group 87">
            <a:extLst>
              <a:ext uri="{FF2B5EF4-FFF2-40B4-BE49-F238E27FC236}">
                <a16:creationId xmlns:a16="http://schemas.microsoft.com/office/drawing/2014/main" id="{2861EF37-6A03-47CD-BF1F-2FD8F1420AF8}"/>
              </a:ext>
            </a:extLst>
          </p:cNvPr>
          <p:cNvGrpSpPr/>
          <p:nvPr/>
        </p:nvGrpSpPr>
        <p:grpSpPr>
          <a:xfrm>
            <a:off x="483807" y="1454834"/>
            <a:ext cx="6187907" cy="1041311"/>
            <a:chOff x="483807" y="1370831"/>
            <a:chExt cx="6187907" cy="1041311"/>
          </a:xfrm>
        </p:grpSpPr>
        <p:sp>
          <p:nvSpPr>
            <p:cNvPr id="20" name="TextBox 19">
              <a:extLst>
                <a:ext uri="{FF2B5EF4-FFF2-40B4-BE49-F238E27FC236}">
                  <a16:creationId xmlns:a16="http://schemas.microsoft.com/office/drawing/2014/main" id="{23D91467-C086-4E61-A304-A7A99C33ADBE}"/>
                </a:ext>
              </a:extLst>
            </p:cNvPr>
            <p:cNvSpPr txBox="1"/>
            <p:nvPr/>
          </p:nvSpPr>
          <p:spPr>
            <a:xfrm>
              <a:off x="1271319" y="1370831"/>
              <a:ext cx="5400395" cy="1041311"/>
            </a:xfrm>
            <a:prstGeom prst="rect">
              <a:avLst/>
            </a:prstGeom>
            <a:noFill/>
          </p:spPr>
          <p:txBody>
            <a:bodyPr wrap="square" lIns="0" tIns="0" rIns="0" bIns="0">
              <a:spAutoFit/>
            </a:bodyPr>
            <a:lstStyle/>
            <a:p>
              <a:pPr>
                <a:spcAft>
                  <a:spcPts val="200"/>
                </a:spcAft>
              </a:pPr>
              <a:r>
                <a:rPr lang="en-US">
                  <a:solidFill>
                    <a:schemeClr val="accent1"/>
                  </a:solidFill>
                  <a:latin typeface="+mj-lt"/>
                </a:rPr>
                <a:t>Focus on the why</a:t>
              </a:r>
            </a:p>
            <a:p>
              <a:r>
                <a:rPr lang="en-US" sz="1600"/>
                <a:t>Make sure employees know why the change is</a:t>
              </a:r>
              <a:br>
                <a:rPr lang="en-US" sz="1600"/>
              </a:br>
              <a:r>
                <a:rPr lang="en-US" sz="1600"/>
                <a:t>happening, what’s in it for them, and why they’re being asked to change.</a:t>
              </a:r>
            </a:p>
          </p:txBody>
        </p:sp>
        <p:grpSp>
          <p:nvGrpSpPr>
            <p:cNvPr id="23" name="Group 22">
              <a:extLst>
                <a:ext uri="{FF2B5EF4-FFF2-40B4-BE49-F238E27FC236}">
                  <a16:creationId xmlns:a16="http://schemas.microsoft.com/office/drawing/2014/main" id="{F51D94E4-B297-4720-970B-DC3C363D5D36}"/>
                </a:ext>
              </a:extLst>
            </p:cNvPr>
            <p:cNvGrpSpPr/>
            <p:nvPr/>
          </p:nvGrpSpPr>
          <p:grpSpPr>
            <a:xfrm>
              <a:off x="483807" y="1370831"/>
              <a:ext cx="494860" cy="494860"/>
              <a:chOff x="483807" y="1370831"/>
              <a:chExt cx="494860" cy="494860"/>
            </a:xfrm>
          </p:grpSpPr>
          <p:sp>
            <p:nvSpPr>
              <p:cNvPr id="5" name="Oval 4">
                <a:extLst>
                  <a:ext uri="{FF2B5EF4-FFF2-40B4-BE49-F238E27FC236}">
                    <a16:creationId xmlns:a16="http://schemas.microsoft.com/office/drawing/2014/main" id="{69AF517C-99E8-4DA3-9E06-BB249AEAAC64}"/>
                  </a:ext>
                </a:extLst>
              </p:cNvPr>
              <p:cNvSpPr/>
              <p:nvPr/>
            </p:nvSpPr>
            <p:spPr bwMode="auto">
              <a:xfrm>
                <a:off x="483807" y="1370831"/>
                <a:ext cx="494860" cy="4948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A9A6F452-4204-41F4-92BE-423FE091E0F2}"/>
                  </a:ext>
                </a:extLst>
              </p:cNvPr>
              <p:cNvGrpSpPr/>
              <p:nvPr/>
            </p:nvGrpSpPr>
            <p:grpSpPr>
              <a:xfrm>
                <a:off x="618525" y="1480503"/>
                <a:ext cx="225425" cy="275517"/>
                <a:chOff x="7188986" y="3342752"/>
                <a:chExt cx="257175" cy="314325"/>
              </a:xfrm>
            </p:grpSpPr>
            <p:sp>
              <p:nvSpPr>
                <p:cNvPr id="40" name="Freeform: Shape 39">
                  <a:extLst>
                    <a:ext uri="{FF2B5EF4-FFF2-40B4-BE49-F238E27FC236}">
                      <a16:creationId xmlns:a16="http://schemas.microsoft.com/office/drawing/2014/main" id="{3EB89E5B-514F-44E8-882F-B9DF678DFB5B}"/>
                    </a:ext>
                  </a:extLst>
                </p:cNvPr>
                <p:cNvSpPr/>
                <p:nvPr/>
              </p:nvSpPr>
              <p:spPr>
                <a:xfrm>
                  <a:off x="7188986" y="3342752"/>
                  <a:ext cx="257175" cy="314325"/>
                </a:xfrm>
                <a:custGeom>
                  <a:avLst/>
                  <a:gdLst>
                    <a:gd name="connsiteX0" fmla="*/ 255118 w 257175"/>
                    <a:gd name="connsiteY0" fmla="*/ 171654 h 314325"/>
                    <a:gd name="connsiteX1" fmla="*/ 229400 w 257175"/>
                    <a:gd name="connsiteY1" fmla="*/ 126887 h 314325"/>
                    <a:gd name="connsiteX2" fmla="*/ 229400 w 257175"/>
                    <a:gd name="connsiteY2" fmla="*/ 124982 h 314325"/>
                    <a:gd name="connsiteX3" fmla="*/ 175108 w 257175"/>
                    <a:gd name="connsiteY3" fmla="*/ 23064 h 314325"/>
                    <a:gd name="connsiteX4" fmla="*/ 61760 w 257175"/>
                    <a:gd name="connsiteY4" fmla="*/ 23064 h 314325"/>
                    <a:gd name="connsiteX5" fmla="*/ 7468 w 257175"/>
                    <a:gd name="connsiteY5" fmla="*/ 124982 h 314325"/>
                    <a:gd name="connsiteX6" fmla="*/ 51283 w 257175"/>
                    <a:gd name="connsiteY6" fmla="*/ 215469 h 314325"/>
                    <a:gd name="connsiteX7" fmla="*/ 51283 w 257175"/>
                    <a:gd name="connsiteY7" fmla="*/ 309767 h 314325"/>
                    <a:gd name="connsiteX8" fmla="*/ 167488 w 257175"/>
                    <a:gd name="connsiteY8" fmla="*/ 309767 h 314325"/>
                    <a:gd name="connsiteX9" fmla="*/ 167488 w 257175"/>
                    <a:gd name="connsiteY9" fmla="*/ 264999 h 314325"/>
                    <a:gd name="connsiteX10" fmla="*/ 185585 w 257175"/>
                    <a:gd name="connsiteY10" fmla="*/ 264999 h 314325"/>
                    <a:gd name="connsiteX11" fmla="*/ 217018 w 257175"/>
                    <a:gd name="connsiteY11" fmla="*/ 251664 h 314325"/>
                    <a:gd name="connsiteX12" fmla="*/ 229400 w 257175"/>
                    <a:gd name="connsiteY12" fmla="*/ 220232 h 314325"/>
                    <a:gd name="connsiteX13" fmla="*/ 229400 w 257175"/>
                    <a:gd name="connsiteY13" fmla="*/ 197372 h 314325"/>
                    <a:gd name="connsiteX14" fmla="*/ 245593 w 257175"/>
                    <a:gd name="connsiteY14" fmla="*/ 197372 h 314325"/>
                    <a:gd name="connsiteX15" fmla="*/ 255118 w 257175"/>
                    <a:gd name="connsiteY15" fmla="*/ 171654 h 314325"/>
                    <a:gd name="connsiteX16" fmla="*/ 255118 w 257175"/>
                    <a:gd name="connsiteY16" fmla="*/ 17165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75" h="314325">
                      <a:moveTo>
                        <a:pt x="255118" y="171654"/>
                      </a:moveTo>
                      <a:lnTo>
                        <a:pt x="229400" y="126887"/>
                      </a:lnTo>
                      <a:lnTo>
                        <a:pt x="229400" y="124982"/>
                      </a:lnTo>
                      <a:cubicBezTo>
                        <a:pt x="231305" y="83072"/>
                        <a:pt x="210350" y="44019"/>
                        <a:pt x="175108" y="23064"/>
                      </a:cubicBezTo>
                      <a:cubicBezTo>
                        <a:pt x="139865" y="2109"/>
                        <a:pt x="97002" y="2109"/>
                        <a:pt x="61760" y="23064"/>
                      </a:cubicBezTo>
                      <a:cubicBezTo>
                        <a:pt x="26518" y="44019"/>
                        <a:pt x="5563" y="83072"/>
                        <a:pt x="7468" y="124982"/>
                      </a:cubicBezTo>
                      <a:cubicBezTo>
                        <a:pt x="7468" y="160224"/>
                        <a:pt x="23660" y="194514"/>
                        <a:pt x="51283" y="215469"/>
                      </a:cubicBezTo>
                      <a:lnTo>
                        <a:pt x="51283" y="309767"/>
                      </a:lnTo>
                      <a:lnTo>
                        <a:pt x="167488" y="309767"/>
                      </a:lnTo>
                      <a:lnTo>
                        <a:pt x="167488" y="264999"/>
                      </a:lnTo>
                      <a:lnTo>
                        <a:pt x="185585" y="264999"/>
                      </a:lnTo>
                      <a:cubicBezTo>
                        <a:pt x="197015" y="264999"/>
                        <a:pt x="208445" y="260237"/>
                        <a:pt x="217018" y="251664"/>
                      </a:cubicBezTo>
                      <a:cubicBezTo>
                        <a:pt x="225590" y="243092"/>
                        <a:pt x="229400" y="231662"/>
                        <a:pt x="229400" y="220232"/>
                      </a:cubicBezTo>
                      <a:lnTo>
                        <a:pt x="229400" y="197372"/>
                      </a:lnTo>
                      <a:lnTo>
                        <a:pt x="245593" y="197372"/>
                      </a:lnTo>
                      <a:cubicBezTo>
                        <a:pt x="255118" y="196419"/>
                        <a:pt x="263690" y="184989"/>
                        <a:pt x="255118" y="171654"/>
                      </a:cubicBezTo>
                      <a:lnTo>
                        <a:pt x="255118" y="171654"/>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1" name="Freeform: Shape 40">
                  <a:extLst>
                    <a:ext uri="{FF2B5EF4-FFF2-40B4-BE49-F238E27FC236}">
                      <a16:creationId xmlns:a16="http://schemas.microsoft.com/office/drawing/2014/main" id="{806801F6-F86A-412E-8C42-354850600AE7}"/>
                    </a:ext>
                  </a:extLst>
                </p:cNvPr>
                <p:cNvSpPr/>
                <p:nvPr/>
              </p:nvSpPr>
              <p:spPr>
                <a:xfrm>
                  <a:off x="7251011" y="3385652"/>
                  <a:ext cx="104775" cy="133350"/>
                </a:xfrm>
                <a:custGeom>
                  <a:avLst/>
                  <a:gdLst>
                    <a:gd name="connsiteX0" fmla="*/ 7355 w 104775"/>
                    <a:gd name="connsiteY0" fmla="*/ 52555 h 133350"/>
                    <a:gd name="connsiteX1" fmla="*/ 57838 w 104775"/>
                    <a:gd name="connsiteY1" fmla="*/ 7787 h 133350"/>
                    <a:gd name="connsiteX2" fmla="*/ 97843 w 104775"/>
                    <a:gd name="connsiteY2" fmla="*/ 47792 h 133350"/>
                    <a:gd name="connsiteX3" fmla="*/ 68315 w 104775"/>
                    <a:gd name="connsiteY3" fmla="*/ 95417 h 133350"/>
                    <a:gd name="connsiteX4" fmla="*/ 53075 w 104775"/>
                    <a:gd name="connsiteY4" fmla="*/ 117325 h 133350"/>
                    <a:gd name="connsiteX5" fmla="*/ 53075 w 104775"/>
                    <a:gd name="connsiteY5" fmla="*/ 13066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33350">
                      <a:moveTo>
                        <a:pt x="7355" y="52555"/>
                      </a:moveTo>
                      <a:cubicBezTo>
                        <a:pt x="7355" y="25885"/>
                        <a:pt x="30215" y="3977"/>
                        <a:pt x="57838" y="7787"/>
                      </a:cubicBezTo>
                      <a:cubicBezTo>
                        <a:pt x="78793" y="9692"/>
                        <a:pt x="95938" y="26837"/>
                        <a:pt x="97843" y="47792"/>
                      </a:cubicBezTo>
                      <a:cubicBezTo>
                        <a:pt x="100700" y="69700"/>
                        <a:pt x="87365" y="88750"/>
                        <a:pt x="68315" y="95417"/>
                      </a:cubicBezTo>
                      <a:cubicBezTo>
                        <a:pt x="58790" y="99227"/>
                        <a:pt x="53075" y="107800"/>
                        <a:pt x="53075" y="117325"/>
                      </a:cubicBezTo>
                      <a:lnTo>
                        <a:pt x="53075" y="13066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826C43BF-4C23-451B-A73D-7ACAFA0ED754}"/>
                    </a:ext>
                  </a:extLst>
                </p:cNvPr>
                <p:cNvSpPr/>
                <p:nvPr/>
              </p:nvSpPr>
              <p:spPr>
                <a:xfrm>
                  <a:off x="7287206" y="3535626"/>
                  <a:ext cx="28575" cy="28575"/>
                </a:xfrm>
                <a:custGeom>
                  <a:avLst/>
                  <a:gdLst>
                    <a:gd name="connsiteX0" fmla="*/ 26405 w 28575"/>
                    <a:gd name="connsiteY0" fmla="*/ 16880 h 28575"/>
                    <a:gd name="connsiteX1" fmla="*/ 16880 w 28575"/>
                    <a:gd name="connsiteY1" fmla="*/ 26405 h 28575"/>
                    <a:gd name="connsiteX2" fmla="*/ 7355 w 28575"/>
                    <a:gd name="connsiteY2" fmla="*/ 16880 h 28575"/>
                    <a:gd name="connsiteX3" fmla="*/ 16880 w 28575"/>
                    <a:gd name="connsiteY3" fmla="*/ 7355 h 28575"/>
                    <a:gd name="connsiteX4" fmla="*/ 26405 w 28575"/>
                    <a:gd name="connsiteY4" fmla="*/ 1688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405" y="16880"/>
                      </a:moveTo>
                      <a:cubicBezTo>
                        <a:pt x="26405" y="22141"/>
                        <a:pt x="22141" y="26405"/>
                        <a:pt x="16880" y="26405"/>
                      </a:cubicBezTo>
                      <a:cubicBezTo>
                        <a:pt x="11619" y="26405"/>
                        <a:pt x="7355" y="22141"/>
                        <a:pt x="7355" y="16880"/>
                      </a:cubicBezTo>
                      <a:cubicBezTo>
                        <a:pt x="7355" y="11620"/>
                        <a:pt x="11619" y="7355"/>
                        <a:pt x="16880" y="7355"/>
                      </a:cubicBezTo>
                      <a:cubicBezTo>
                        <a:pt x="22141" y="7355"/>
                        <a:pt x="26405" y="11620"/>
                        <a:pt x="26405" y="16880"/>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grpSp>
        <p:nvGrpSpPr>
          <p:cNvPr id="87" name="Group 86">
            <a:extLst>
              <a:ext uri="{FF2B5EF4-FFF2-40B4-BE49-F238E27FC236}">
                <a16:creationId xmlns:a16="http://schemas.microsoft.com/office/drawing/2014/main" id="{DD796A91-0F96-4B33-83AF-A1F1502CA7E3}"/>
              </a:ext>
            </a:extLst>
          </p:cNvPr>
          <p:cNvGrpSpPr/>
          <p:nvPr/>
        </p:nvGrpSpPr>
        <p:grpSpPr>
          <a:xfrm>
            <a:off x="483807" y="2701567"/>
            <a:ext cx="5994073" cy="795089"/>
            <a:chOff x="483807" y="2617564"/>
            <a:chExt cx="5994073" cy="795089"/>
          </a:xfrm>
        </p:grpSpPr>
        <p:sp>
          <p:nvSpPr>
            <p:cNvPr id="18" name="TextBox 17">
              <a:extLst>
                <a:ext uri="{FF2B5EF4-FFF2-40B4-BE49-F238E27FC236}">
                  <a16:creationId xmlns:a16="http://schemas.microsoft.com/office/drawing/2014/main" id="{316D450F-4F45-4F7D-943B-7D70AF031699}"/>
                </a:ext>
              </a:extLst>
            </p:cNvPr>
            <p:cNvSpPr txBox="1"/>
            <p:nvPr/>
          </p:nvSpPr>
          <p:spPr>
            <a:xfrm>
              <a:off x="1271319" y="2617564"/>
              <a:ext cx="5206561" cy="795089"/>
            </a:xfrm>
            <a:prstGeom prst="rect">
              <a:avLst/>
            </a:prstGeom>
            <a:noFill/>
          </p:spPr>
          <p:txBody>
            <a:bodyPr wrap="square" lIns="0" tIns="0" rIns="0" bIns="0">
              <a:spAutoFit/>
            </a:bodyPr>
            <a:lstStyle/>
            <a:p>
              <a:pPr>
                <a:spcAft>
                  <a:spcPts val="200"/>
                </a:spcAft>
              </a:pPr>
              <a:r>
                <a:rPr lang="en-US">
                  <a:solidFill>
                    <a:schemeClr val="accent1"/>
                  </a:solidFill>
                  <a:latin typeface="+mj-lt"/>
                </a:rPr>
                <a:t>Use real work scenarios</a:t>
              </a:r>
            </a:p>
            <a:p>
              <a:r>
                <a:rPr lang="en-US" sz="1600"/>
                <a:t>Use tasks or processes familiar to your audience to draw them into learning how to use the technology.</a:t>
              </a:r>
            </a:p>
          </p:txBody>
        </p:sp>
        <p:grpSp>
          <p:nvGrpSpPr>
            <p:cNvPr id="58" name="Group 57">
              <a:extLst>
                <a:ext uri="{FF2B5EF4-FFF2-40B4-BE49-F238E27FC236}">
                  <a16:creationId xmlns:a16="http://schemas.microsoft.com/office/drawing/2014/main" id="{397548EC-6079-408D-9744-81C7CC9D29D8}"/>
                </a:ext>
              </a:extLst>
            </p:cNvPr>
            <p:cNvGrpSpPr/>
            <p:nvPr/>
          </p:nvGrpSpPr>
          <p:grpSpPr>
            <a:xfrm>
              <a:off x="483807" y="2617564"/>
              <a:ext cx="494860" cy="494860"/>
              <a:chOff x="483807" y="2617564"/>
              <a:chExt cx="494860" cy="494860"/>
            </a:xfrm>
          </p:grpSpPr>
          <p:sp>
            <p:nvSpPr>
              <p:cNvPr id="25" name="Oval 24">
                <a:extLst>
                  <a:ext uri="{FF2B5EF4-FFF2-40B4-BE49-F238E27FC236}">
                    <a16:creationId xmlns:a16="http://schemas.microsoft.com/office/drawing/2014/main" id="{639E9AEE-2AEF-4DD4-B29A-C2D048DA69FA}"/>
                  </a:ext>
                </a:extLst>
              </p:cNvPr>
              <p:cNvSpPr/>
              <p:nvPr/>
            </p:nvSpPr>
            <p:spPr bwMode="auto">
              <a:xfrm>
                <a:off x="483807" y="2617564"/>
                <a:ext cx="494860" cy="4948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43" name="Graphic 63">
                <a:extLst>
                  <a:ext uri="{FF2B5EF4-FFF2-40B4-BE49-F238E27FC236}">
                    <a16:creationId xmlns:a16="http://schemas.microsoft.com/office/drawing/2014/main" id="{AB0B5151-6AC1-40DF-B45C-588C333ACE70}"/>
                  </a:ext>
                </a:extLst>
              </p:cNvPr>
              <p:cNvGrpSpPr/>
              <p:nvPr/>
            </p:nvGrpSpPr>
            <p:grpSpPr>
              <a:xfrm>
                <a:off x="583078" y="2734281"/>
                <a:ext cx="296318" cy="261426"/>
                <a:chOff x="773612" y="1516293"/>
                <a:chExt cx="1024779" cy="904119"/>
              </a:xfrm>
              <a:noFill/>
            </p:grpSpPr>
            <p:grpSp>
              <p:nvGrpSpPr>
                <p:cNvPr id="44" name="Graphic 63">
                  <a:extLst>
                    <a:ext uri="{FF2B5EF4-FFF2-40B4-BE49-F238E27FC236}">
                      <a16:creationId xmlns:a16="http://schemas.microsoft.com/office/drawing/2014/main" id="{DE14E31F-48DA-4197-BB42-847DE7450F4A}"/>
                    </a:ext>
                  </a:extLst>
                </p:cNvPr>
                <p:cNvGrpSpPr/>
                <p:nvPr/>
              </p:nvGrpSpPr>
              <p:grpSpPr>
                <a:xfrm>
                  <a:off x="832392" y="1752618"/>
                  <a:ext cx="290032" cy="313236"/>
                  <a:chOff x="832392" y="1752609"/>
                  <a:chExt cx="290032" cy="313234"/>
                </a:xfrm>
                <a:noFill/>
              </p:grpSpPr>
              <p:sp>
                <p:nvSpPr>
                  <p:cNvPr id="56" name="Freeform: Shape 55">
                    <a:extLst>
                      <a:ext uri="{FF2B5EF4-FFF2-40B4-BE49-F238E27FC236}">
                        <a16:creationId xmlns:a16="http://schemas.microsoft.com/office/drawing/2014/main" id="{AFDFA460-BE3A-4211-8C0C-4EE4662040E8}"/>
                      </a:ext>
                    </a:extLst>
                  </p:cNvPr>
                  <p:cNvSpPr/>
                  <p:nvPr/>
                </p:nvSpPr>
                <p:spPr>
                  <a:xfrm>
                    <a:off x="894265" y="1752609"/>
                    <a:ext cx="174019" cy="174020"/>
                  </a:xfrm>
                  <a:custGeom>
                    <a:avLst/>
                    <a:gdLst>
                      <a:gd name="connsiteX0" fmla="*/ 87976 w 174019"/>
                      <a:gd name="connsiteY0" fmla="*/ 0 h 174019"/>
                      <a:gd name="connsiteX1" fmla="*/ 0 w 174019"/>
                      <a:gd name="connsiteY1" fmla="*/ 88943 h 174019"/>
                      <a:gd name="connsiteX2" fmla="*/ 87976 w 174019"/>
                      <a:gd name="connsiteY2" fmla="*/ 177886 h 174019"/>
                      <a:gd name="connsiteX3" fmla="*/ 177500 w 174019"/>
                      <a:gd name="connsiteY3" fmla="*/ 88943 h 174019"/>
                      <a:gd name="connsiteX4" fmla="*/ 87976 w 174019"/>
                      <a:gd name="connsiteY4" fmla="*/ 0 h 174019"/>
                      <a:gd name="connsiteX5" fmla="*/ 87976 w 174019"/>
                      <a:gd name="connsiteY5" fmla="*/ 0 h 17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19" h="174019">
                        <a:moveTo>
                          <a:pt x="87976" y="0"/>
                        </a:moveTo>
                        <a:cubicBezTo>
                          <a:pt x="39058" y="0"/>
                          <a:pt x="0" y="40411"/>
                          <a:pt x="0" y="88943"/>
                        </a:cubicBezTo>
                        <a:cubicBezTo>
                          <a:pt x="0" y="137475"/>
                          <a:pt x="39058" y="177886"/>
                          <a:pt x="87976" y="177886"/>
                        </a:cubicBezTo>
                        <a:cubicBezTo>
                          <a:pt x="138442" y="177886"/>
                          <a:pt x="177500" y="137475"/>
                          <a:pt x="177500" y="88943"/>
                        </a:cubicBezTo>
                        <a:cubicBezTo>
                          <a:pt x="177500" y="40411"/>
                          <a:pt x="138442" y="0"/>
                          <a:pt x="87976" y="0"/>
                        </a:cubicBezTo>
                        <a:lnTo>
                          <a:pt x="87976" y="0"/>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7" name="Freeform: Shape 56">
                    <a:extLst>
                      <a:ext uri="{FF2B5EF4-FFF2-40B4-BE49-F238E27FC236}">
                        <a16:creationId xmlns:a16="http://schemas.microsoft.com/office/drawing/2014/main" id="{E729C474-920A-4229-9AB7-30CE95017990}"/>
                      </a:ext>
                    </a:extLst>
                  </p:cNvPr>
                  <p:cNvSpPr/>
                  <p:nvPr/>
                </p:nvSpPr>
                <p:spPr>
                  <a:xfrm>
                    <a:off x="832392" y="1930495"/>
                    <a:ext cx="290032" cy="135348"/>
                  </a:xfrm>
                  <a:custGeom>
                    <a:avLst/>
                    <a:gdLst>
                      <a:gd name="connsiteX0" fmla="*/ 301247 w 290031"/>
                      <a:gd name="connsiteY0" fmla="*/ 148883 h 135348"/>
                      <a:gd name="connsiteX1" fmla="*/ 149850 w 290031"/>
                      <a:gd name="connsiteY1" fmla="*/ 0 h 135348"/>
                      <a:gd name="connsiteX2" fmla="*/ 0 w 290031"/>
                      <a:gd name="connsiteY2" fmla="*/ 148883 h 135348"/>
                    </a:gdLst>
                    <a:ahLst/>
                    <a:cxnLst>
                      <a:cxn ang="0">
                        <a:pos x="connsiteX0" y="connsiteY0"/>
                      </a:cxn>
                      <a:cxn ang="0">
                        <a:pos x="connsiteX1" y="connsiteY1"/>
                      </a:cxn>
                      <a:cxn ang="0">
                        <a:pos x="connsiteX2" y="connsiteY2"/>
                      </a:cxn>
                    </a:cxnLst>
                    <a:rect l="l" t="t" r="r" b="b"/>
                    <a:pathLst>
                      <a:path w="290031" h="135348">
                        <a:moveTo>
                          <a:pt x="301247" y="148883"/>
                        </a:moveTo>
                        <a:cubicBezTo>
                          <a:pt x="301247" y="66321"/>
                          <a:pt x="234539" y="0"/>
                          <a:pt x="149850" y="0"/>
                        </a:cubicBezTo>
                        <a:cubicBezTo>
                          <a:pt x="66901" y="0"/>
                          <a:pt x="0" y="66321"/>
                          <a:pt x="0" y="148883"/>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45" name="Graphic 63">
                  <a:extLst>
                    <a:ext uri="{FF2B5EF4-FFF2-40B4-BE49-F238E27FC236}">
                      <a16:creationId xmlns:a16="http://schemas.microsoft.com/office/drawing/2014/main" id="{C6BC435A-FD84-4C93-A546-359FD8ECFF8C}"/>
                    </a:ext>
                  </a:extLst>
                </p:cNvPr>
                <p:cNvGrpSpPr/>
                <p:nvPr/>
              </p:nvGrpSpPr>
              <p:grpSpPr>
                <a:xfrm>
                  <a:off x="832392" y="2150693"/>
                  <a:ext cx="212691" cy="232027"/>
                  <a:chOff x="832392" y="2150682"/>
                  <a:chExt cx="212690" cy="232026"/>
                </a:xfrm>
                <a:noFill/>
              </p:grpSpPr>
              <p:sp>
                <p:nvSpPr>
                  <p:cNvPr id="54" name="Freeform: Shape 53">
                    <a:extLst>
                      <a:ext uri="{FF2B5EF4-FFF2-40B4-BE49-F238E27FC236}">
                        <a16:creationId xmlns:a16="http://schemas.microsoft.com/office/drawing/2014/main" id="{6895EF25-52F6-4612-84BB-859EAB610FD8}"/>
                      </a:ext>
                    </a:extLst>
                  </p:cNvPr>
                  <p:cNvSpPr/>
                  <p:nvPr/>
                </p:nvSpPr>
                <p:spPr>
                  <a:xfrm>
                    <a:off x="879183"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798" y="0"/>
                          <a:pt x="66514" y="0"/>
                        </a:cubicBezTo>
                        <a:lnTo>
                          <a:pt x="66514" y="0"/>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5" name="Freeform: Shape 54">
                    <a:extLst>
                      <a:ext uri="{FF2B5EF4-FFF2-40B4-BE49-F238E27FC236}">
                        <a16:creationId xmlns:a16="http://schemas.microsoft.com/office/drawing/2014/main" id="{14EF4950-2E6D-4827-A2EC-A1FE0E0DA247}"/>
                      </a:ext>
                    </a:extLst>
                  </p:cNvPr>
                  <p:cNvSpPr/>
                  <p:nvPr/>
                </p:nvSpPr>
                <p:spPr>
                  <a:xfrm>
                    <a:off x="832392"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46" name="Graphic 63">
                  <a:extLst>
                    <a:ext uri="{FF2B5EF4-FFF2-40B4-BE49-F238E27FC236}">
                      <a16:creationId xmlns:a16="http://schemas.microsoft.com/office/drawing/2014/main" id="{9553F238-711F-40E6-9FFE-C03F327B9451}"/>
                    </a:ext>
                  </a:extLst>
                </p:cNvPr>
                <p:cNvGrpSpPr/>
                <p:nvPr/>
              </p:nvGrpSpPr>
              <p:grpSpPr>
                <a:xfrm>
                  <a:off x="1175983" y="2150693"/>
                  <a:ext cx="212691" cy="232027"/>
                  <a:chOff x="1175983" y="2150682"/>
                  <a:chExt cx="212690" cy="232026"/>
                </a:xfrm>
                <a:noFill/>
              </p:grpSpPr>
              <p:sp>
                <p:nvSpPr>
                  <p:cNvPr id="52" name="Freeform: Shape 51">
                    <a:extLst>
                      <a:ext uri="{FF2B5EF4-FFF2-40B4-BE49-F238E27FC236}">
                        <a16:creationId xmlns:a16="http://schemas.microsoft.com/office/drawing/2014/main" id="{11BFD414-6668-46AE-AD07-728117888E16}"/>
                      </a:ext>
                    </a:extLst>
                  </p:cNvPr>
                  <p:cNvSpPr/>
                  <p:nvPr/>
                </p:nvSpPr>
                <p:spPr>
                  <a:xfrm>
                    <a:off x="1222775"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3" name="Freeform: Shape 52">
                    <a:extLst>
                      <a:ext uri="{FF2B5EF4-FFF2-40B4-BE49-F238E27FC236}">
                        <a16:creationId xmlns:a16="http://schemas.microsoft.com/office/drawing/2014/main" id="{E05A2C57-265B-4308-9E13-7E4AC5F3EAE9}"/>
                      </a:ext>
                    </a:extLst>
                  </p:cNvPr>
                  <p:cNvSpPr/>
                  <p:nvPr/>
                </p:nvSpPr>
                <p:spPr>
                  <a:xfrm>
                    <a:off x="1175983"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nvGrpSpPr>
                <p:cNvPr id="47" name="Graphic 63">
                  <a:extLst>
                    <a:ext uri="{FF2B5EF4-FFF2-40B4-BE49-F238E27FC236}">
                      <a16:creationId xmlns:a16="http://schemas.microsoft.com/office/drawing/2014/main" id="{B14C9C70-DFD5-44FE-8334-2D33D7DD9209}"/>
                    </a:ext>
                  </a:extLst>
                </p:cNvPr>
                <p:cNvGrpSpPr/>
                <p:nvPr/>
              </p:nvGrpSpPr>
              <p:grpSpPr>
                <a:xfrm>
                  <a:off x="1519574" y="2150693"/>
                  <a:ext cx="212691" cy="232027"/>
                  <a:chOff x="1519574" y="2150682"/>
                  <a:chExt cx="212690" cy="232026"/>
                </a:xfrm>
                <a:noFill/>
              </p:grpSpPr>
              <p:sp>
                <p:nvSpPr>
                  <p:cNvPr id="50" name="Freeform: Shape 49">
                    <a:extLst>
                      <a:ext uri="{FF2B5EF4-FFF2-40B4-BE49-F238E27FC236}">
                        <a16:creationId xmlns:a16="http://schemas.microsoft.com/office/drawing/2014/main" id="{18D7C912-4988-42D9-861E-2DC2A91EE99D}"/>
                      </a:ext>
                    </a:extLst>
                  </p:cNvPr>
                  <p:cNvSpPr/>
                  <p:nvPr/>
                </p:nvSpPr>
                <p:spPr>
                  <a:xfrm>
                    <a:off x="1566366"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ECB0106C-94B7-48C5-9099-42656BBAB4DD}"/>
                      </a:ext>
                    </a:extLst>
                  </p:cNvPr>
                  <p:cNvSpPr/>
                  <p:nvPr/>
                </p:nvSpPr>
                <p:spPr>
                  <a:xfrm>
                    <a:off x="1519574"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sp>
              <p:nvSpPr>
                <p:cNvPr id="48" name="Freeform: Shape 47">
                  <a:extLst>
                    <a:ext uri="{FF2B5EF4-FFF2-40B4-BE49-F238E27FC236}">
                      <a16:creationId xmlns:a16="http://schemas.microsoft.com/office/drawing/2014/main" id="{451942CC-4A67-4A9D-B7D6-E668715EBC90}"/>
                    </a:ext>
                  </a:extLst>
                </p:cNvPr>
                <p:cNvSpPr/>
                <p:nvPr/>
              </p:nvSpPr>
              <p:spPr>
                <a:xfrm>
                  <a:off x="963679" y="1516293"/>
                  <a:ext cx="831425" cy="522061"/>
                </a:xfrm>
                <a:custGeom>
                  <a:avLst/>
                  <a:gdLst>
                    <a:gd name="connsiteX0" fmla="*/ 0 w 831424"/>
                    <a:gd name="connsiteY0" fmla="*/ 203022 h 522057"/>
                    <a:gd name="connsiteX1" fmla="*/ 0 w 831424"/>
                    <a:gd name="connsiteY1" fmla="*/ 0 h 522057"/>
                    <a:gd name="connsiteX2" fmla="*/ 837419 w 831424"/>
                    <a:gd name="connsiteY2" fmla="*/ 0 h 522057"/>
                    <a:gd name="connsiteX3" fmla="*/ 837419 w 831424"/>
                    <a:gd name="connsiteY3" fmla="*/ 522251 h 522057"/>
                    <a:gd name="connsiteX4" fmla="*/ 187941 w 831424"/>
                    <a:gd name="connsiteY4" fmla="*/ 522251 h 52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424" h="522057">
                      <a:moveTo>
                        <a:pt x="0" y="203022"/>
                      </a:moveTo>
                      <a:lnTo>
                        <a:pt x="0" y="0"/>
                      </a:lnTo>
                      <a:lnTo>
                        <a:pt x="837419" y="0"/>
                      </a:lnTo>
                      <a:lnTo>
                        <a:pt x="837419" y="522251"/>
                      </a:lnTo>
                      <a:lnTo>
                        <a:pt x="187941" y="5222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16E6217C-C158-4190-9C19-8A051AFE1999}"/>
                    </a:ext>
                  </a:extLst>
                </p:cNvPr>
                <p:cNvSpPr/>
                <p:nvPr/>
              </p:nvSpPr>
              <p:spPr>
                <a:xfrm>
                  <a:off x="773612" y="2401077"/>
                  <a:ext cx="1024779" cy="19335"/>
                </a:xfrm>
                <a:custGeom>
                  <a:avLst/>
                  <a:gdLst>
                    <a:gd name="connsiteX0" fmla="*/ 0 w 1024779"/>
                    <a:gd name="connsiteY0" fmla="*/ 0 h 0"/>
                    <a:gd name="connsiteX1" fmla="*/ 1027486 w 1024779"/>
                    <a:gd name="connsiteY1" fmla="*/ 0 h 0"/>
                  </a:gdLst>
                  <a:ahLst/>
                  <a:cxnLst>
                    <a:cxn ang="0">
                      <a:pos x="connsiteX0" y="connsiteY0"/>
                    </a:cxn>
                    <a:cxn ang="0">
                      <a:pos x="connsiteX1" y="connsiteY1"/>
                    </a:cxn>
                  </a:cxnLst>
                  <a:rect l="l" t="t" r="r" b="b"/>
                  <a:pathLst>
                    <a:path w="1024779">
                      <a:moveTo>
                        <a:pt x="0" y="0"/>
                      </a:moveTo>
                      <a:lnTo>
                        <a:pt x="1027486" y="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grpSp>
        <p:nvGrpSpPr>
          <p:cNvPr id="86" name="Group 85">
            <a:extLst>
              <a:ext uri="{FF2B5EF4-FFF2-40B4-BE49-F238E27FC236}">
                <a16:creationId xmlns:a16="http://schemas.microsoft.com/office/drawing/2014/main" id="{EA4DFC53-3060-4E90-9BA3-110B2CE7E2E3}"/>
              </a:ext>
            </a:extLst>
          </p:cNvPr>
          <p:cNvGrpSpPr/>
          <p:nvPr/>
        </p:nvGrpSpPr>
        <p:grpSpPr>
          <a:xfrm>
            <a:off x="483807" y="3948300"/>
            <a:ext cx="5994073" cy="1041311"/>
            <a:chOff x="483807" y="3864297"/>
            <a:chExt cx="5994073" cy="1041311"/>
          </a:xfrm>
        </p:grpSpPr>
        <p:sp>
          <p:nvSpPr>
            <p:cNvPr id="19" name="TextBox 18">
              <a:extLst>
                <a:ext uri="{FF2B5EF4-FFF2-40B4-BE49-F238E27FC236}">
                  <a16:creationId xmlns:a16="http://schemas.microsoft.com/office/drawing/2014/main" id="{8556A064-66DA-44CB-8317-5C84391BCF27}"/>
                </a:ext>
              </a:extLst>
            </p:cNvPr>
            <p:cNvSpPr txBox="1"/>
            <p:nvPr/>
          </p:nvSpPr>
          <p:spPr>
            <a:xfrm>
              <a:off x="1271319" y="3864297"/>
              <a:ext cx="5206561" cy="1041311"/>
            </a:xfrm>
            <a:prstGeom prst="rect">
              <a:avLst/>
            </a:prstGeom>
            <a:noFill/>
          </p:spPr>
          <p:txBody>
            <a:bodyPr wrap="square" lIns="0" tIns="0" rIns="0" bIns="0">
              <a:spAutoFit/>
            </a:bodyPr>
            <a:lstStyle/>
            <a:p>
              <a:pPr>
                <a:spcAft>
                  <a:spcPts val="200"/>
                </a:spcAft>
              </a:pPr>
              <a:r>
                <a:rPr lang="en-US">
                  <a:solidFill>
                    <a:schemeClr val="accent1"/>
                  </a:solidFill>
                  <a:latin typeface="+mj-lt"/>
                </a:rPr>
                <a:t>Use multiple formats</a:t>
              </a:r>
            </a:p>
            <a:p>
              <a:r>
                <a:rPr lang="en-US" sz="1600"/>
                <a:t>Training end users should take on multiple forms to accommodate different learning styles, geographical barriers, and resource constraints.</a:t>
              </a:r>
            </a:p>
          </p:txBody>
        </p:sp>
        <p:grpSp>
          <p:nvGrpSpPr>
            <p:cNvPr id="73" name="Group 72">
              <a:extLst>
                <a:ext uri="{FF2B5EF4-FFF2-40B4-BE49-F238E27FC236}">
                  <a16:creationId xmlns:a16="http://schemas.microsoft.com/office/drawing/2014/main" id="{A524AF54-9C9C-4B3B-B074-72FCE9670A2B}"/>
                </a:ext>
              </a:extLst>
            </p:cNvPr>
            <p:cNvGrpSpPr/>
            <p:nvPr/>
          </p:nvGrpSpPr>
          <p:grpSpPr>
            <a:xfrm>
              <a:off x="483807" y="3864297"/>
              <a:ext cx="494860" cy="494860"/>
              <a:chOff x="483807" y="3864297"/>
              <a:chExt cx="494860" cy="494860"/>
            </a:xfrm>
          </p:grpSpPr>
          <p:sp>
            <p:nvSpPr>
              <p:cNvPr id="26" name="Oval 25">
                <a:extLst>
                  <a:ext uri="{FF2B5EF4-FFF2-40B4-BE49-F238E27FC236}">
                    <a16:creationId xmlns:a16="http://schemas.microsoft.com/office/drawing/2014/main" id="{D0B62ACC-7121-404A-AC7E-B5ADB152337C}"/>
                  </a:ext>
                </a:extLst>
              </p:cNvPr>
              <p:cNvSpPr/>
              <p:nvPr/>
            </p:nvSpPr>
            <p:spPr bwMode="auto">
              <a:xfrm>
                <a:off x="483807" y="3864297"/>
                <a:ext cx="494860" cy="4948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59" name="Graphic 20">
                <a:extLst>
                  <a:ext uri="{FF2B5EF4-FFF2-40B4-BE49-F238E27FC236}">
                    <a16:creationId xmlns:a16="http://schemas.microsoft.com/office/drawing/2014/main" id="{39D02367-3609-4799-B1F9-93B602307ECB}"/>
                  </a:ext>
                </a:extLst>
              </p:cNvPr>
              <p:cNvGrpSpPr/>
              <p:nvPr/>
            </p:nvGrpSpPr>
            <p:grpSpPr>
              <a:xfrm>
                <a:off x="571688" y="3972369"/>
                <a:ext cx="317804" cy="277388"/>
                <a:chOff x="5803899" y="3135312"/>
                <a:chExt cx="825340" cy="720375"/>
              </a:xfrm>
            </p:grpSpPr>
            <p:sp>
              <p:nvSpPr>
                <p:cNvPr id="60" name="Freeform: Shape 59">
                  <a:extLst>
                    <a:ext uri="{FF2B5EF4-FFF2-40B4-BE49-F238E27FC236}">
                      <a16:creationId xmlns:a16="http://schemas.microsoft.com/office/drawing/2014/main" id="{1829A73A-8DC2-46C0-9255-49C459D6A252}"/>
                    </a:ext>
                  </a:extLst>
                </p:cNvPr>
                <p:cNvSpPr/>
                <p:nvPr/>
              </p:nvSpPr>
              <p:spPr>
                <a:xfrm>
                  <a:off x="5990398" y="3219608"/>
                  <a:ext cx="120205" cy="120205"/>
                </a:xfrm>
                <a:custGeom>
                  <a:avLst/>
                  <a:gdLst>
                    <a:gd name="connsiteX0" fmla="*/ 120206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6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6" y="60103"/>
                      </a:moveTo>
                      <a:cubicBezTo>
                        <a:pt x="120206" y="93297"/>
                        <a:pt x="93297" y="120205"/>
                        <a:pt x="60103" y="120205"/>
                      </a:cubicBezTo>
                      <a:cubicBezTo>
                        <a:pt x="26909" y="120205"/>
                        <a:pt x="0" y="93297"/>
                        <a:pt x="0" y="60103"/>
                      </a:cubicBezTo>
                      <a:cubicBezTo>
                        <a:pt x="0" y="26909"/>
                        <a:pt x="26909" y="0"/>
                        <a:pt x="60103" y="0"/>
                      </a:cubicBezTo>
                      <a:cubicBezTo>
                        <a:pt x="93297" y="0"/>
                        <a:pt x="120206" y="26909"/>
                        <a:pt x="120206" y="60103"/>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21C1DABD-48F3-440D-B146-FF0BCFE3D3BA}"/>
                    </a:ext>
                  </a:extLst>
                </p:cNvPr>
                <p:cNvSpPr/>
                <p:nvPr/>
              </p:nvSpPr>
              <p:spPr>
                <a:xfrm>
                  <a:off x="6509034" y="3279806"/>
                  <a:ext cx="120205" cy="120205"/>
                </a:xfrm>
                <a:custGeom>
                  <a:avLst/>
                  <a:gdLst>
                    <a:gd name="connsiteX0" fmla="*/ 120206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6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6" y="60103"/>
                      </a:moveTo>
                      <a:cubicBezTo>
                        <a:pt x="120206" y="93297"/>
                        <a:pt x="93297" y="120205"/>
                        <a:pt x="60103" y="120205"/>
                      </a:cubicBezTo>
                      <a:cubicBezTo>
                        <a:pt x="26909" y="120205"/>
                        <a:pt x="0" y="93297"/>
                        <a:pt x="0" y="60103"/>
                      </a:cubicBezTo>
                      <a:cubicBezTo>
                        <a:pt x="0" y="26909"/>
                        <a:pt x="26909" y="0"/>
                        <a:pt x="60103" y="0"/>
                      </a:cubicBezTo>
                      <a:cubicBezTo>
                        <a:pt x="93297" y="0"/>
                        <a:pt x="120206" y="26909"/>
                        <a:pt x="120206" y="60103"/>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2" name="Freeform: Shape 61">
                  <a:extLst>
                    <a:ext uri="{FF2B5EF4-FFF2-40B4-BE49-F238E27FC236}">
                      <a16:creationId xmlns:a16="http://schemas.microsoft.com/office/drawing/2014/main" id="{F1A8AFE2-5869-4E67-A8AF-4CDE9804EA6D}"/>
                    </a:ext>
                  </a:extLst>
                </p:cNvPr>
                <p:cNvSpPr/>
                <p:nvPr/>
              </p:nvSpPr>
              <p:spPr>
                <a:xfrm>
                  <a:off x="6459504" y="3722147"/>
                  <a:ext cx="120205" cy="120205"/>
                </a:xfrm>
                <a:custGeom>
                  <a:avLst/>
                  <a:gdLst>
                    <a:gd name="connsiteX0" fmla="*/ 120205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5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5" y="60103"/>
                      </a:moveTo>
                      <a:cubicBezTo>
                        <a:pt x="120205" y="93297"/>
                        <a:pt x="93297" y="120205"/>
                        <a:pt x="60103" y="120205"/>
                      </a:cubicBezTo>
                      <a:cubicBezTo>
                        <a:pt x="26909" y="120205"/>
                        <a:pt x="0" y="93297"/>
                        <a:pt x="0" y="60103"/>
                      </a:cubicBezTo>
                      <a:cubicBezTo>
                        <a:pt x="0" y="26909"/>
                        <a:pt x="26909" y="0"/>
                        <a:pt x="60103" y="0"/>
                      </a:cubicBezTo>
                      <a:cubicBezTo>
                        <a:pt x="93297" y="0"/>
                        <a:pt x="120205" y="26909"/>
                        <a:pt x="120205" y="60103"/>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3" name="Freeform: Shape 62">
                  <a:extLst>
                    <a:ext uri="{FF2B5EF4-FFF2-40B4-BE49-F238E27FC236}">
                      <a16:creationId xmlns:a16="http://schemas.microsoft.com/office/drawing/2014/main" id="{AFFF2A66-19D5-4E96-A633-C95087342222}"/>
                    </a:ext>
                  </a:extLst>
                </p:cNvPr>
                <p:cNvSpPr/>
                <p:nvPr/>
              </p:nvSpPr>
              <p:spPr>
                <a:xfrm>
                  <a:off x="6156705" y="3753008"/>
                  <a:ext cx="102679" cy="102679"/>
                </a:xfrm>
                <a:custGeom>
                  <a:avLst/>
                  <a:gdLst>
                    <a:gd name="connsiteX0" fmla="*/ 102680 w 102679"/>
                    <a:gd name="connsiteY0" fmla="*/ 51340 h 102679"/>
                    <a:gd name="connsiteX1" fmla="*/ 51340 w 102679"/>
                    <a:gd name="connsiteY1" fmla="*/ 102679 h 102679"/>
                    <a:gd name="connsiteX2" fmla="*/ 0 w 102679"/>
                    <a:gd name="connsiteY2" fmla="*/ 51340 h 102679"/>
                    <a:gd name="connsiteX3" fmla="*/ 51340 w 102679"/>
                    <a:gd name="connsiteY3" fmla="*/ 0 h 102679"/>
                    <a:gd name="connsiteX4" fmla="*/ 102680 w 102679"/>
                    <a:gd name="connsiteY4" fmla="*/ 51340 h 102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79" h="102679">
                      <a:moveTo>
                        <a:pt x="102680" y="51340"/>
                      </a:moveTo>
                      <a:cubicBezTo>
                        <a:pt x="102680" y="79694"/>
                        <a:pt x="79694" y="102679"/>
                        <a:pt x="51340" y="102679"/>
                      </a:cubicBezTo>
                      <a:cubicBezTo>
                        <a:pt x="22986" y="102679"/>
                        <a:pt x="0" y="79694"/>
                        <a:pt x="0" y="51340"/>
                      </a:cubicBezTo>
                      <a:cubicBezTo>
                        <a:pt x="0" y="22986"/>
                        <a:pt x="22986" y="0"/>
                        <a:pt x="51340" y="0"/>
                      </a:cubicBezTo>
                      <a:cubicBezTo>
                        <a:pt x="79694" y="0"/>
                        <a:pt x="102680" y="22986"/>
                        <a:pt x="102680" y="51340"/>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4" name="Freeform: Shape 63">
                  <a:extLst>
                    <a:ext uri="{FF2B5EF4-FFF2-40B4-BE49-F238E27FC236}">
                      <a16:creationId xmlns:a16="http://schemas.microsoft.com/office/drawing/2014/main" id="{93611177-CFBB-45D9-AE8B-8364366F7DEE}"/>
                    </a:ext>
                  </a:extLst>
                </p:cNvPr>
                <p:cNvSpPr/>
                <p:nvPr/>
              </p:nvSpPr>
              <p:spPr>
                <a:xfrm>
                  <a:off x="5803899" y="3443541"/>
                  <a:ext cx="120205" cy="120205"/>
                </a:xfrm>
                <a:custGeom>
                  <a:avLst/>
                  <a:gdLst>
                    <a:gd name="connsiteX0" fmla="*/ 120206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6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6" y="60103"/>
                      </a:moveTo>
                      <a:cubicBezTo>
                        <a:pt x="120206" y="93297"/>
                        <a:pt x="93297" y="120205"/>
                        <a:pt x="60103" y="120205"/>
                      </a:cubicBezTo>
                      <a:cubicBezTo>
                        <a:pt x="26909" y="120205"/>
                        <a:pt x="0" y="93297"/>
                        <a:pt x="0" y="60103"/>
                      </a:cubicBezTo>
                      <a:cubicBezTo>
                        <a:pt x="0" y="26909"/>
                        <a:pt x="26909" y="0"/>
                        <a:pt x="60103" y="0"/>
                      </a:cubicBezTo>
                      <a:cubicBezTo>
                        <a:pt x="93297" y="0"/>
                        <a:pt x="120206" y="26909"/>
                        <a:pt x="120206" y="60103"/>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5" name="Freeform: Shape 64">
                  <a:extLst>
                    <a:ext uri="{FF2B5EF4-FFF2-40B4-BE49-F238E27FC236}">
                      <a16:creationId xmlns:a16="http://schemas.microsoft.com/office/drawing/2014/main" id="{D975DA32-450D-4AD8-9D69-9F37F0BD022C}"/>
                    </a:ext>
                  </a:extLst>
                </p:cNvPr>
                <p:cNvSpPr/>
                <p:nvPr/>
              </p:nvSpPr>
              <p:spPr>
                <a:xfrm>
                  <a:off x="6220141" y="3135312"/>
                  <a:ext cx="82105" cy="82105"/>
                </a:xfrm>
                <a:custGeom>
                  <a:avLst/>
                  <a:gdLst>
                    <a:gd name="connsiteX0" fmla="*/ 82106 w 82105"/>
                    <a:gd name="connsiteY0" fmla="*/ 41053 h 82105"/>
                    <a:gd name="connsiteX1" fmla="*/ 41053 w 82105"/>
                    <a:gd name="connsiteY1" fmla="*/ 82106 h 82105"/>
                    <a:gd name="connsiteX2" fmla="*/ 0 w 82105"/>
                    <a:gd name="connsiteY2" fmla="*/ 41053 h 82105"/>
                    <a:gd name="connsiteX3" fmla="*/ 41053 w 82105"/>
                    <a:gd name="connsiteY3" fmla="*/ 0 h 82105"/>
                    <a:gd name="connsiteX4" fmla="*/ 82106 w 82105"/>
                    <a:gd name="connsiteY4" fmla="*/ 41053 h 8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05" h="82105">
                      <a:moveTo>
                        <a:pt x="82106" y="41053"/>
                      </a:moveTo>
                      <a:cubicBezTo>
                        <a:pt x="82106" y="63726"/>
                        <a:pt x="63726" y="82106"/>
                        <a:pt x="41053" y="82106"/>
                      </a:cubicBezTo>
                      <a:cubicBezTo>
                        <a:pt x="18380" y="82106"/>
                        <a:pt x="0" y="63726"/>
                        <a:pt x="0" y="41053"/>
                      </a:cubicBezTo>
                      <a:cubicBezTo>
                        <a:pt x="0" y="18380"/>
                        <a:pt x="18380" y="0"/>
                        <a:pt x="41053" y="0"/>
                      </a:cubicBezTo>
                      <a:cubicBezTo>
                        <a:pt x="63726" y="0"/>
                        <a:pt x="82106" y="18380"/>
                        <a:pt x="82106" y="41053"/>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6" name="Freeform: Shape 65">
                  <a:extLst>
                    <a:ext uri="{FF2B5EF4-FFF2-40B4-BE49-F238E27FC236}">
                      <a16:creationId xmlns:a16="http://schemas.microsoft.com/office/drawing/2014/main" id="{E20C5158-509B-491B-B7A5-FA0E64ED5680}"/>
                    </a:ext>
                  </a:extLst>
                </p:cNvPr>
                <p:cNvSpPr/>
                <p:nvPr/>
              </p:nvSpPr>
              <p:spPr>
                <a:xfrm>
                  <a:off x="6139845" y="3418299"/>
                  <a:ext cx="194500" cy="194500"/>
                </a:xfrm>
                <a:custGeom>
                  <a:avLst/>
                  <a:gdLst>
                    <a:gd name="connsiteX0" fmla="*/ 194500 w 194500"/>
                    <a:gd name="connsiteY0" fmla="*/ 97250 h 194500"/>
                    <a:gd name="connsiteX1" fmla="*/ 97250 w 194500"/>
                    <a:gd name="connsiteY1" fmla="*/ 194500 h 194500"/>
                    <a:gd name="connsiteX2" fmla="*/ 0 w 194500"/>
                    <a:gd name="connsiteY2" fmla="*/ 97250 h 194500"/>
                    <a:gd name="connsiteX3" fmla="*/ 97250 w 194500"/>
                    <a:gd name="connsiteY3" fmla="*/ 0 h 194500"/>
                    <a:gd name="connsiteX4" fmla="*/ 194500 w 194500"/>
                    <a:gd name="connsiteY4" fmla="*/ 97250 h 19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00" h="194500">
                      <a:moveTo>
                        <a:pt x="194500" y="97250"/>
                      </a:moveTo>
                      <a:cubicBezTo>
                        <a:pt x="194500" y="150960"/>
                        <a:pt x="150960" y="194500"/>
                        <a:pt x="97250" y="194500"/>
                      </a:cubicBezTo>
                      <a:cubicBezTo>
                        <a:pt x="43540" y="194500"/>
                        <a:pt x="0" y="150960"/>
                        <a:pt x="0" y="97250"/>
                      </a:cubicBezTo>
                      <a:cubicBezTo>
                        <a:pt x="0" y="43540"/>
                        <a:pt x="43540" y="0"/>
                        <a:pt x="97250" y="0"/>
                      </a:cubicBezTo>
                      <a:cubicBezTo>
                        <a:pt x="150960" y="0"/>
                        <a:pt x="194500" y="43540"/>
                        <a:pt x="194500" y="97250"/>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7" name="Freeform: Shape 66">
                  <a:extLst>
                    <a:ext uri="{FF2B5EF4-FFF2-40B4-BE49-F238E27FC236}">
                      <a16:creationId xmlns:a16="http://schemas.microsoft.com/office/drawing/2014/main" id="{2139999F-3176-4691-A44F-215CB6DA2F29}"/>
                    </a:ext>
                  </a:extLst>
                </p:cNvPr>
                <p:cNvSpPr/>
                <p:nvPr/>
              </p:nvSpPr>
              <p:spPr>
                <a:xfrm>
                  <a:off x="6086315" y="3327907"/>
                  <a:ext cx="89344" cy="112013"/>
                </a:xfrm>
                <a:custGeom>
                  <a:avLst/>
                  <a:gdLst>
                    <a:gd name="connsiteX0" fmla="*/ 0 w 89344"/>
                    <a:gd name="connsiteY0" fmla="*/ 0 h 112013"/>
                    <a:gd name="connsiteX1" fmla="*/ 89344 w 89344"/>
                    <a:gd name="connsiteY1" fmla="*/ 112014 h 112013"/>
                  </a:gdLst>
                  <a:ahLst/>
                  <a:cxnLst>
                    <a:cxn ang="0">
                      <a:pos x="connsiteX0" y="connsiteY0"/>
                    </a:cxn>
                    <a:cxn ang="0">
                      <a:pos x="connsiteX1" y="connsiteY1"/>
                    </a:cxn>
                  </a:cxnLst>
                  <a:rect l="l" t="t" r="r" b="b"/>
                  <a:pathLst>
                    <a:path w="89344" h="112013">
                      <a:moveTo>
                        <a:pt x="0" y="0"/>
                      </a:moveTo>
                      <a:lnTo>
                        <a:pt x="89344" y="112014"/>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8" name="Freeform: Shape 67">
                  <a:extLst>
                    <a:ext uri="{FF2B5EF4-FFF2-40B4-BE49-F238E27FC236}">
                      <a16:creationId xmlns:a16="http://schemas.microsoft.com/office/drawing/2014/main" id="{861BA223-0272-4B77-89F7-80A01478B485}"/>
                    </a:ext>
                  </a:extLst>
                </p:cNvPr>
                <p:cNvSpPr/>
                <p:nvPr/>
              </p:nvSpPr>
              <p:spPr>
                <a:xfrm>
                  <a:off x="6243954" y="3219894"/>
                  <a:ext cx="17049" cy="198405"/>
                </a:xfrm>
                <a:custGeom>
                  <a:avLst/>
                  <a:gdLst>
                    <a:gd name="connsiteX0" fmla="*/ 17050 w 17049"/>
                    <a:gd name="connsiteY0" fmla="*/ 0 h 198405"/>
                    <a:gd name="connsiteX1" fmla="*/ 0 w 17049"/>
                    <a:gd name="connsiteY1" fmla="*/ 198406 h 198405"/>
                  </a:gdLst>
                  <a:ahLst/>
                  <a:cxnLst>
                    <a:cxn ang="0">
                      <a:pos x="connsiteX0" y="connsiteY0"/>
                    </a:cxn>
                    <a:cxn ang="0">
                      <a:pos x="connsiteX1" y="connsiteY1"/>
                    </a:cxn>
                  </a:cxnLst>
                  <a:rect l="l" t="t" r="r" b="b"/>
                  <a:pathLst>
                    <a:path w="17049" h="198405">
                      <a:moveTo>
                        <a:pt x="17050" y="0"/>
                      </a:moveTo>
                      <a:lnTo>
                        <a:pt x="0" y="198406"/>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9" name="Freeform: Shape 68">
                  <a:extLst>
                    <a:ext uri="{FF2B5EF4-FFF2-40B4-BE49-F238E27FC236}">
                      <a16:creationId xmlns:a16="http://schemas.microsoft.com/office/drawing/2014/main" id="{BF553C94-DA2B-4862-BBA6-5306B72A6E0C}"/>
                    </a:ext>
                  </a:extLst>
                </p:cNvPr>
                <p:cNvSpPr/>
                <p:nvPr/>
              </p:nvSpPr>
              <p:spPr>
                <a:xfrm>
                  <a:off x="5923723" y="3509930"/>
                  <a:ext cx="216312" cy="10668"/>
                </a:xfrm>
                <a:custGeom>
                  <a:avLst/>
                  <a:gdLst>
                    <a:gd name="connsiteX0" fmla="*/ 0 w 216312"/>
                    <a:gd name="connsiteY0" fmla="*/ 0 h 10668"/>
                    <a:gd name="connsiteX1" fmla="*/ 216313 w 216312"/>
                    <a:gd name="connsiteY1" fmla="*/ 10668 h 10668"/>
                  </a:gdLst>
                  <a:ahLst/>
                  <a:cxnLst>
                    <a:cxn ang="0">
                      <a:pos x="connsiteX0" y="connsiteY0"/>
                    </a:cxn>
                    <a:cxn ang="0">
                      <a:pos x="connsiteX1" y="connsiteY1"/>
                    </a:cxn>
                  </a:cxnLst>
                  <a:rect l="l" t="t" r="r" b="b"/>
                  <a:pathLst>
                    <a:path w="216312" h="10668">
                      <a:moveTo>
                        <a:pt x="0" y="0"/>
                      </a:moveTo>
                      <a:lnTo>
                        <a:pt x="216313" y="10668"/>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0" name="Freeform: Shape 69">
                  <a:extLst>
                    <a:ext uri="{FF2B5EF4-FFF2-40B4-BE49-F238E27FC236}">
                      <a16:creationId xmlns:a16="http://schemas.microsoft.com/office/drawing/2014/main" id="{F30E16A1-CE60-48A1-883A-112F89518A10}"/>
                    </a:ext>
                  </a:extLst>
                </p:cNvPr>
                <p:cNvSpPr/>
                <p:nvPr/>
              </p:nvSpPr>
              <p:spPr>
                <a:xfrm>
                  <a:off x="6208044" y="3612800"/>
                  <a:ext cx="12096" cy="140303"/>
                </a:xfrm>
                <a:custGeom>
                  <a:avLst/>
                  <a:gdLst>
                    <a:gd name="connsiteX0" fmla="*/ 0 w 12096"/>
                    <a:gd name="connsiteY0" fmla="*/ 140303 h 140303"/>
                    <a:gd name="connsiteX1" fmla="*/ 12097 w 12096"/>
                    <a:gd name="connsiteY1" fmla="*/ 0 h 140303"/>
                  </a:gdLst>
                  <a:ahLst/>
                  <a:cxnLst>
                    <a:cxn ang="0">
                      <a:pos x="connsiteX0" y="connsiteY0"/>
                    </a:cxn>
                    <a:cxn ang="0">
                      <a:pos x="connsiteX1" y="connsiteY1"/>
                    </a:cxn>
                  </a:cxnLst>
                  <a:rect l="l" t="t" r="r" b="b"/>
                  <a:pathLst>
                    <a:path w="12096" h="140303">
                      <a:moveTo>
                        <a:pt x="0" y="140303"/>
                      </a:moveTo>
                      <a:lnTo>
                        <a:pt x="12097" y="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1" name="Freeform: Shape 70">
                  <a:extLst>
                    <a:ext uri="{FF2B5EF4-FFF2-40B4-BE49-F238E27FC236}">
                      <a16:creationId xmlns:a16="http://schemas.microsoft.com/office/drawing/2014/main" id="{1CB8358B-996A-466E-B2E8-B655EA3DB0D7}"/>
                    </a:ext>
                  </a:extLst>
                </p:cNvPr>
                <p:cNvSpPr/>
                <p:nvPr/>
              </p:nvSpPr>
              <p:spPr>
                <a:xfrm>
                  <a:off x="6323964" y="3569937"/>
                  <a:ext cx="152114" cy="170973"/>
                </a:xfrm>
                <a:custGeom>
                  <a:avLst/>
                  <a:gdLst>
                    <a:gd name="connsiteX0" fmla="*/ 152114 w 152114"/>
                    <a:gd name="connsiteY0" fmla="*/ 170974 h 170973"/>
                    <a:gd name="connsiteX1" fmla="*/ 0 w 152114"/>
                    <a:gd name="connsiteY1" fmla="*/ 0 h 170973"/>
                  </a:gdLst>
                  <a:ahLst/>
                  <a:cxnLst>
                    <a:cxn ang="0">
                      <a:pos x="connsiteX0" y="connsiteY0"/>
                    </a:cxn>
                    <a:cxn ang="0">
                      <a:pos x="connsiteX1" y="connsiteY1"/>
                    </a:cxn>
                  </a:cxnLst>
                  <a:rect l="l" t="t" r="r" b="b"/>
                  <a:pathLst>
                    <a:path w="152114" h="170973">
                      <a:moveTo>
                        <a:pt x="152114" y="170974"/>
                      </a:moveTo>
                      <a:lnTo>
                        <a:pt x="0" y="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2" name="Freeform: Shape 71">
                  <a:extLst>
                    <a:ext uri="{FF2B5EF4-FFF2-40B4-BE49-F238E27FC236}">
                      <a16:creationId xmlns:a16="http://schemas.microsoft.com/office/drawing/2014/main" id="{E4DDA383-F8D9-45A2-A6B1-227A74B85619}"/>
                    </a:ext>
                  </a:extLst>
                </p:cNvPr>
                <p:cNvSpPr/>
                <p:nvPr/>
              </p:nvSpPr>
              <p:spPr>
                <a:xfrm>
                  <a:off x="6327583" y="3375723"/>
                  <a:ext cx="193357" cy="95345"/>
                </a:xfrm>
                <a:custGeom>
                  <a:avLst/>
                  <a:gdLst>
                    <a:gd name="connsiteX0" fmla="*/ 0 w 193357"/>
                    <a:gd name="connsiteY0" fmla="*/ 95345 h 95345"/>
                    <a:gd name="connsiteX1" fmla="*/ 193357 w 193357"/>
                    <a:gd name="connsiteY1" fmla="*/ 0 h 95345"/>
                  </a:gdLst>
                  <a:ahLst/>
                  <a:cxnLst>
                    <a:cxn ang="0">
                      <a:pos x="connsiteX0" y="connsiteY0"/>
                    </a:cxn>
                    <a:cxn ang="0">
                      <a:pos x="connsiteX1" y="connsiteY1"/>
                    </a:cxn>
                  </a:cxnLst>
                  <a:rect l="l" t="t" r="r" b="b"/>
                  <a:pathLst>
                    <a:path w="193357" h="95345">
                      <a:moveTo>
                        <a:pt x="0" y="95345"/>
                      </a:moveTo>
                      <a:lnTo>
                        <a:pt x="193357" y="0"/>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grpSp>
        <p:nvGrpSpPr>
          <p:cNvPr id="85" name="Group 84">
            <a:extLst>
              <a:ext uri="{FF2B5EF4-FFF2-40B4-BE49-F238E27FC236}">
                <a16:creationId xmlns:a16="http://schemas.microsoft.com/office/drawing/2014/main" id="{9DDC39BB-085C-4F80-8E73-069DC20D9784}"/>
              </a:ext>
            </a:extLst>
          </p:cNvPr>
          <p:cNvGrpSpPr/>
          <p:nvPr/>
        </p:nvGrpSpPr>
        <p:grpSpPr>
          <a:xfrm>
            <a:off x="483807" y="5195033"/>
            <a:ext cx="5994073" cy="1041311"/>
            <a:chOff x="483807" y="5111030"/>
            <a:chExt cx="5994073" cy="1041311"/>
          </a:xfrm>
        </p:grpSpPr>
        <p:sp>
          <p:nvSpPr>
            <p:cNvPr id="21" name="TextBox 20">
              <a:extLst>
                <a:ext uri="{FF2B5EF4-FFF2-40B4-BE49-F238E27FC236}">
                  <a16:creationId xmlns:a16="http://schemas.microsoft.com/office/drawing/2014/main" id="{69027C90-76C9-4A6D-98A4-430F90D92495}"/>
                </a:ext>
              </a:extLst>
            </p:cNvPr>
            <p:cNvSpPr txBox="1"/>
            <p:nvPr/>
          </p:nvSpPr>
          <p:spPr>
            <a:xfrm>
              <a:off x="1271319" y="5111030"/>
              <a:ext cx="5206561" cy="1041311"/>
            </a:xfrm>
            <a:prstGeom prst="rect">
              <a:avLst/>
            </a:prstGeom>
            <a:noFill/>
          </p:spPr>
          <p:txBody>
            <a:bodyPr wrap="square" lIns="0" tIns="0" rIns="0" bIns="0">
              <a:spAutoFit/>
            </a:bodyPr>
            <a:lstStyle/>
            <a:p>
              <a:pPr>
                <a:spcAft>
                  <a:spcPts val="200"/>
                </a:spcAft>
              </a:pPr>
              <a:r>
                <a:rPr lang="en-US">
                  <a:solidFill>
                    <a:schemeClr val="accent1"/>
                  </a:solidFill>
                  <a:latin typeface="+mj-lt"/>
                </a:rPr>
                <a:t>Reinforce</a:t>
              </a:r>
            </a:p>
            <a:p>
              <a:r>
                <a:rPr lang="en-US" sz="1600"/>
                <a:t>Make the training stick with reinforcement options like on-demand training, lunch and learn sessions, and new employee training options</a:t>
              </a:r>
            </a:p>
          </p:txBody>
        </p:sp>
        <p:grpSp>
          <p:nvGrpSpPr>
            <p:cNvPr id="84" name="Group 83">
              <a:extLst>
                <a:ext uri="{FF2B5EF4-FFF2-40B4-BE49-F238E27FC236}">
                  <a16:creationId xmlns:a16="http://schemas.microsoft.com/office/drawing/2014/main" id="{B21185E9-85BC-47AA-8871-CC7740622EB7}"/>
                </a:ext>
              </a:extLst>
            </p:cNvPr>
            <p:cNvGrpSpPr/>
            <p:nvPr/>
          </p:nvGrpSpPr>
          <p:grpSpPr>
            <a:xfrm>
              <a:off x="483807" y="5111030"/>
              <a:ext cx="494860" cy="494860"/>
              <a:chOff x="483807" y="5111030"/>
              <a:chExt cx="494860" cy="494860"/>
            </a:xfrm>
          </p:grpSpPr>
          <p:sp>
            <p:nvSpPr>
              <p:cNvPr id="27" name="Oval 26">
                <a:extLst>
                  <a:ext uri="{FF2B5EF4-FFF2-40B4-BE49-F238E27FC236}">
                    <a16:creationId xmlns:a16="http://schemas.microsoft.com/office/drawing/2014/main" id="{451C31A0-55DC-4D5D-86CD-0ACA9195F36C}"/>
                  </a:ext>
                </a:extLst>
              </p:cNvPr>
              <p:cNvSpPr/>
              <p:nvPr/>
            </p:nvSpPr>
            <p:spPr bwMode="auto">
              <a:xfrm>
                <a:off x="483807" y="5111030"/>
                <a:ext cx="494860" cy="494860"/>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74" name="Graphic 317">
                <a:extLst>
                  <a:ext uri="{FF2B5EF4-FFF2-40B4-BE49-F238E27FC236}">
                    <a16:creationId xmlns:a16="http://schemas.microsoft.com/office/drawing/2014/main" id="{07AE18AA-D522-470C-BB1F-6E73D561BC36}"/>
                  </a:ext>
                </a:extLst>
              </p:cNvPr>
              <p:cNvGrpSpPr/>
              <p:nvPr/>
            </p:nvGrpSpPr>
            <p:grpSpPr>
              <a:xfrm>
                <a:off x="619022" y="5246246"/>
                <a:ext cx="224430" cy="224428"/>
                <a:chOff x="6013449" y="3292474"/>
                <a:chExt cx="409575" cy="409575"/>
              </a:xfrm>
            </p:grpSpPr>
            <p:sp>
              <p:nvSpPr>
                <p:cNvPr id="75" name="Freeform: Shape 74">
                  <a:extLst>
                    <a:ext uri="{FF2B5EF4-FFF2-40B4-BE49-F238E27FC236}">
                      <a16:creationId xmlns:a16="http://schemas.microsoft.com/office/drawing/2014/main" id="{578BD35E-6D09-4714-A777-1934A925E623}"/>
                    </a:ext>
                  </a:extLst>
                </p:cNvPr>
                <p:cNvSpPr/>
                <p:nvPr/>
              </p:nvSpPr>
              <p:spPr>
                <a:xfrm>
                  <a:off x="6047929" y="3294855"/>
                  <a:ext cx="374142" cy="281463"/>
                </a:xfrm>
                <a:custGeom>
                  <a:avLst/>
                  <a:gdLst>
                    <a:gd name="connsiteX0" fmla="*/ 0 w 374142"/>
                    <a:gd name="connsiteY0" fmla="*/ 246317 h 281463"/>
                    <a:gd name="connsiteX1" fmla="*/ 0 w 374142"/>
                    <a:gd name="connsiteY1" fmla="*/ 13716 h 281463"/>
                    <a:gd name="connsiteX2" fmla="*/ 13145 w 374142"/>
                    <a:gd name="connsiteY2" fmla="*/ 0 h 281463"/>
                    <a:gd name="connsiteX3" fmla="*/ 360617 w 374142"/>
                    <a:gd name="connsiteY3" fmla="*/ 0 h 281463"/>
                    <a:gd name="connsiteX4" fmla="*/ 374142 w 374142"/>
                    <a:gd name="connsiteY4" fmla="*/ 13716 h 281463"/>
                    <a:gd name="connsiteX5" fmla="*/ 374142 w 374142"/>
                    <a:gd name="connsiteY5" fmla="*/ 268129 h 281463"/>
                    <a:gd name="connsiteX6" fmla="*/ 360617 w 374142"/>
                    <a:gd name="connsiteY6" fmla="*/ 281464 h 281463"/>
                    <a:gd name="connsiteX7" fmla="*/ 163735 w 374142"/>
                    <a:gd name="connsiteY7" fmla="*/ 281464 h 28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142" h="281463">
                      <a:moveTo>
                        <a:pt x="0" y="246317"/>
                      </a:moveTo>
                      <a:cubicBezTo>
                        <a:pt x="0" y="13716"/>
                        <a:pt x="0" y="13716"/>
                        <a:pt x="0" y="13716"/>
                      </a:cubicBezTo>
                      <a:cubicBezTo>
                        <a:pt x="0" y="6191"/>
                        <a:pt x="5810" y="0"/>
                        <a:pt x="13145" y="0"/>
                      </a:cubicBezTo>
                      <a:cubicBezTo>
                        <a:pt x="360617" y="0"/>
                        <a:pt x="360617" y="0"/>
                        <a:pt x="360617" y="0"/>
                      </a:cubicBezTo>
                      <a:cubicBezTo>
                        <a:pt x="368046" y="0"/>
                        <a:pt x="374142" y="6191"/>
                        <a:pt x="374142" y="13716"/>
                      </a:cubicBezTo>
                      <a:cubicBezTo>
                        <a:pt x="374142" y="268129"/>
                        <a:pt x="374142" y="268129"/>
                        <a:pt x="374142" y="268129"/>
                      </a:cubicBezTo>
                      <a:cubicBezTo>
                        <a:pt x="374142" y="275654"/>
                        <a:pt x="368046" y="281464"/>
                        <a:pt x="360617" y="281464"/>
                      </a:cubicBezTo>
                      <a:cubicBezTo>
                        <a:pt x="163735" y="281464"/>
                        <a:pt x="163735" y="281464"/>
                        <a:pt x="163735" y="281464"/>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6" name="Freeform: Shape 75">
                  <a:extLst>
                    <a:ext uri="{FF2B5EF4-FFF2-40B4-BE49-F238E27FC236}">
                      <a16:creationId xmlns:a16="http://schemas.microsoft.com/office/drawing/2014/main" id="{A7417AE2-C931-4D8D-8217-19EF63A525B3}"/>
                    </a:ext>
                  </a:extLst>
                </p:cNvPr>
                <p:cNvSpPr/>
                <p:nvPr/>
              </p:nvSpPr>
              <p:spPr>
                <a:xfrm>
                  <a:off x="6080028" y="3565555"/>
                  <a:ext cx="35876" cy="43338"/>
                </a:xfrm>
                <a:custGeom>
                  <a:avLst/>
                  <a:gdLst>
                    <a:gd name="connsiteX0" fmla="*/ 35814 w 35876"/>
                    <a:gd name="connsiteY0" fmla="*/ 0 h 43338"/>
                    <a:gd name="connsiteX1" fmla="*/ 35814 w 35876"/>
                    <a:gd name="connsiteY1" fmla="*/ 286 h 43338"/>
                    <a:gd name="connsiteX2" fmla="*/ 24194 w 35876"/>
                    <a:gd name="connsiteY2" fmla="*/ 34766 h 43338"/>
                    <a:gd name="connsiteX3" fmla="*/ 0 w 35876"/>
                    <a:gd name="connsiteY3" fmla="*/ 43339 h 43338"/>
                  </a:gdLst>
                  <a:ahLst/>
                  <a:cxnLst>
                    <a:cxn ang="0">
                      <a:pos x="connsiteX0" y="connsiteY0"/>
                    </a:cxn>
                    <a:cxn ang="0">
                      <a:pos x="connsiteX1" y="connsiteY1"/>
                    </a:cxn>
                    <a:cxn ang="0">
                      <a:pos x="connsiteX2" y="connsiteY2"/>
                    </a:cxn>
                    <a:cxn ang="0">
                      <a:pos x="connsiteX3" y="connsiteY3"/>
                    </a:cxn>
                  </a:cxnLst>
                  <a:rect l="l" t="t" r="r" b="b"/>
                  <a:pathLst>
                    <a:path w="35876" h="43338">
                      <a:moveTo>
                        <a:pt x="35814" y="0"/>
                      </a:moveTo>
                      <a:cubicBezTo>
                        <a:pt x="35814" y="286"/>
                        <a:pt x="35814" y="286"/>
                        <a:pt x="35814" y="286"/>
                      </a:cubicBezTo>
                      <a:cubicBezTo>
                        <a:pt x="35814" y="286"/>
                        <a:pt x="37433" y="21622"/>
                        <a:pt x="24194" y="34766"/>
                      </a:cubicBezTo>
                      <a:cubicBezTo>
                        <a:pt x="18574" y="40577"/>
                        <a:pt x="10573" y="43339"/>
                        <a:pt x="0" y="4333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7" name="Freeform: Shape 76">
                  <a:extLst>
                    <a:ext uri="{FF2B5EF4-FFF2-40B4-BE49-F238E27FC236}">
                      <a16:creationId xmlns:a16="http://schemas.microsoft.com/office/drawing/2014/main" id="{0E376A2C-B73D-468B-995E-E1CFA1A5E12E}"/>
                    </a:ext>
                  </a:extLst>
                </p:cNvPr>
                <p:cNvSpPr/>
                <p:nvPr/>
              </p:nvSpPr>
              <p:spPr>
                <a:xfrm>
                  <a:off x="6015925" y="3527551"/>
                  <a:ext cx="176403" cy="173259"/>
                </a:xfrm>
                <a:custGeom>
                  <a:avLst/>
                  <a:gdLst>
                    <a:gd name="connsiteX0" fmla="*/ 125540 w 176403"/>
                    <a:gd name="connsiteY0" fmla="*/ 173260 h 173259"/>
                    <a:gd name="connsiteX1" fmla="*/ 38481 w 176403"/>
                    <a:gd name="connsiteY1" fmla="*/ 173260 h 173259"/>
                    <a:gd name="connsiteX2" fmla="*/ 0 w 176403"/>
                    <a:gd name="connsiteY2" fmla="*/ 133922 h 173259"/>
                    <a:gd name="connsiteX3" fmla="*/ 0 w 176403"/>
                    <a:gd name="connsiteY3" fmla="*/ 66961 h 173259"/>
                    <a:gd name="connsiteX4" fmla="*/ 18288 w 176403"/>
                    <a:gd name="connsiteY4" fmla="*/ 66961 h 173259"/>
                    <a:gd name="connsiteX5" fmla="*/ 28099 w 176403"/>
                    <a:gd name="connsiteY5" fmla="*/ 56959 h 173259"/>
                    <a:gd name="connsiteX6" fmla="*/ 28099 w 176403"/>
                    <a:gd name="connsiteY6" fmla="*/ 38957 h 173259"/>
                    <a:gd name="connsiteX7" fmla="*/ 28099 w 176403"/>
                    <a:gd name="connsiteY7" fmla="*/ 38957 h 173259"/>
                    <a:gd name="connsiteX8" fmla="*/ 68199 w 176403"/>
                    <a:gd name="connsiteY8" fmla="*/ 0 h 173259"/>
                    <a:gd name="connsiteX9" fmla="*/ 176403 w 176403"/>
                    <a:gd name="connsiteY9" fmla="*/ 0 h 173259"/>
                    <a:gd name="connsiteX10" fmla="*/ 150305 w 176403"/>
                    <a:gd name="connsiteY10" fmla="*/ 33623 h 17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6403" h="173259">
                      <a:moveTo>
                        <a:pt x="125540" y="173260"/>
                      </a:moveTo>
                      <a:cubicBezTo>
                        <a:pt x="38481" y="173260"/>
                        <a:pt x="38481" y="173260"/>
                        <a:pt x="38481" y="173260"/>
                      </a:cubicBezTo>
                      <a:cubicBezTo>
                        <a:pt x="16955" y="173260"/>
                        <a:pt x="0" y="155639"/>
                        <a:pt x="0" y="133922"/>
                      </a:cubicBezTo>
                      <a:cubicBezTo>
                        <a:pt x="0" y="66961"/>
                        <a:pt x="0" y="66961"/>
                        <a:pt x="0" y="66961"/>
                      </a:cubicBezTo>
                      <a:cubicBezTo>
                        <a:pt x="18288" y="66961"/>
                        <a:pt x="18288" y="66961"/>
                        <a:pt x="18288" y="66961"/>
                      </a:cubicBezTo>
                      <a:cubicBezTo>
                        <a:pt x="23527" y="66961"/>
                        <a:pt x="28099" y="62293"/>
                        <a:pt x="28099" y="56959"/>
                      </a:cubicBezTo>
                      <a:cubicBezTo>
                        <a:pt x="28099" y="38957"/>
                        <a:pt x="28099" y="38957"/>
                        <a:pt x="28099" y="38957"/>
                      </a:cubicBezTo>
                      <a:lnTo>
                        <a:pt x="28099" y="38957"/>
                      </a:lnTo>
                      <a:cubicBezTo>
                        <a:pt x="29718" y="17621"/>
                        <a:pt x="47339" y="0"/>
                        <a:pt x="68199" y="0"/>
                      </a:cubicBezTo>
                      <a:cubicBezTo>
                        <a:pt x="176403" y="0"/>
                        <a:pt x="176403" y="0"/>
                        <a:pt x="176403" y="0"/>
                      </a:cubicBezTo>
                      <a:cubicBezTo>
                        <a:pt x="176117" y="14288"/>
                        <a:pt x="164306" y="33623"/>
                        <a:pt x="150305" y="33623"/>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8" name="Freeform: Shape 77">
                  <a:extLst>
                    <a:ext uri="{FF2B5EF4-FFF2-40B4-BE49-F238E27FC236}">
                      <a16:creationId xmlns:a16="http://schemas.microsoft.com/office/drawing/2014/main" id="{37175EA7-2F3B-4CFF-9104-4992D8E34F43}"/>
                    </a:ext>
                  </a:extLst>
                </p:cNvPr>
                <p:cNvSpPr/>
                <p:nvPr/>
              </p:nvSpPr>
              <p:spPr>
                <a:xfrm>
                  <a:off x="6128225" y="3662996"/>
                  <a:ext cx="69437" cy="37909"/>
                </a:xfrm>
                <a:custGeom>
                  <a:avLst/>
                  <a:gdLst>
                    <a:gd name="connsiteX0" fmla="*/ 54864 w 69437"/>
                    <a:gd name="connsiteY0" fmla="*/ 0 h 37909"/>
                    <a:gd name="connsiteX1" fmla="*/ 14859 w 69437"/>
                    <a:gd name="connsiteY1" fmla="*/ 0 h 37909"/>
                    <a:gd name="connsiteX2" fmla="*/ 0 w 69437"/>
                    <a:gd name="connsiteY2" fmla="*/ 17335 h 37909"/>
                    <a:gd name="connsiteX3" fmla="*/ 0 w 69437"/>
                    <a:gd name="connsiteY3" fmla="*/ 20955 h 37909"/>
                    <a:gd name="connsiteX4" fmla="*/ 14859 w 69437"/>
                    <a:gd name="connsiteY4" fmla="*/ 37909 h 37909"/>
                    <a:gd name="connsiteX5" fmla="*/ 54864 w 69437"/>
                    <a:gd name="connsiteY5" fmla="*/ 37909 h 37909"/>
                    <a:gd name="connsiteX6" fmla="*/ 69437 w 69437"/>
                    <a:gd name="connsiteY6" fmla="*/ 20955 h 37909"/>
                    <a:gd name="connsiteX7" fmla="*/ 69437 w 69437"/>
                    <a:gd name="connsiteY7" fmla="*/ 17335 h 37909"/>
                    <a:gd name="connsiteX8" fmla="*/ 54864 w 69437"/>
                    <a:gd name="connsiteY8" fmla="*/ 0 h 37909"/>
                    <a:gd name="connsiteX9" fmla="*/ 54864 w 69437"/>
                    <a:gd name="connsiteY9" fmla="*/ 0 h 3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437" h="37909">
                      <a:moveTo>
                        <a:pt x="54864" y="0"/>
                      </a:moveTo>
                      <a:cubicBezTo>
                        <a:pt x="14859" y="0"/>
                        <a:pt x="14859" y="0"/>
                        <a:pt x="14859" y="0"/>
                      </a:cubicBezTo>
                      <a:cubicBezTo>
                        <a:pt x="6763" y="0"/>
                        <a:pt x="0" y="7620"/>
                        <a:pt x="0" y="17335"/>
                      </a:cubicBezTo>
                      <a:cubicBezTo>
                        <a:pt x="0" y="20955"/>
                        <a:pt x="0" y="20955"/>
                        <a:pt x="0" y="20955"/>
                      </a:cubicBezTo>
                      <a:cubicBezTo>
                        <a:pt x="0" y="30290"/>
                        <a:pt x="6858" y="37909"/>
                        <a:pt x="14859" y="37909"/>
                      </a:cubicBezTo>
                      <a:cubicBezTo>
                        <a:pt x="54864" y="37909"/>
                        <a:pt x="54864" y="37909"/>
                        <a:pt x="54864" y="37909"/>
                      </a:cubicBezTo>
                      <a:cubicBezTo>
                        <a:pt x="62960" y="37909"/>
                        <a:pt x="69437" y="30290"/>
                        <a:pt x="69437" y="20955"/>
                      </a:cubicBezTo>
                      <a:cubicBezTo>
                        <a:pt x="69437" y="17335"/>
                        <a:pt x="69437" y="17335"/>
                        <a:pt x="69437" y="17335"/>
                      </a:cubicBezTo>
                      <a:cubicBezTo>
                        <a:pt x="69437" y="7525"/>
                        <a:pt x="62865" y="0"/>
                        <a:pt x="54864" y="0"/>
                      </a:cubicBezTo>
                      <a:lnTo>
                        <a:pt x="54864" y="0"/>
                      </a:ln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79" name="Freeform: Shape 78">
                  <a:extLst>
                    <a:ext uri="{FF2B5EF4-FFF2-40B4-BE49-F238E27FC236}">
                      <a16:creationId xmlns:a16="http://schemas.microsoft.com/office/drawing/2014/main" id="{2A50881A-874E-49AE-946E-9A9B08300209}"/>
                    </a:ext>
                  </a:extLst>
                </p:cNvPr>
                <p:cNvSpPr/>
                <p:nvPr/>
              </p:nvSpPr>
              <p:spPr>
                <a:xfrm>
                  <a:off x="6117557" y="3630516"/>
                  <a:ext cx="90868" cy="32480"/>
                </a:xfrm>
                <a:custGeom>
                  <a:avLst/>
                  <a:gdLst>
                    <a:gd name="connsiteX0" fmla="*/ 23051 w 90868"/>
                    <a:gd name="connsiteY0" fmla="*/ 32480 h 32480"/>
                    <a:gd name="connsiteX1" fmla="*/ 17145 w 90868"/>
                    <a:gd name="connsiteY1" fmla="*/ 32480 h 32480"/>
                    <a:gd name="connsiteX2" fmla="*/ 0 w 90868"/>
                    <a:gd name="connsiteY2" fmla="*/ 16383 h 32480"/>
                    <a:gd name="connsiteX3" fmla="*/ 0 w 90868"/>
                    <a:gd name="connsiteY3" fmla="*/ 16383 h 32480"/>
                    <a:gd name="connsiteX4" fmla="*/ 17145 w 90868"/>
                    <a:gd name="connsiteY4" fmla="*/ 0 h 32480"/>
                    <a:gd name="connsiteX5" fmla="*/ 73342 w 90868"/>
                    <a:gd name="connsiteY5" fmla="*/ 0 h 32480"/>
                    <a:gd name="connsiteX6" fmla="*/ 90868 w 90868"/>
                    <a:gd name="connsiteY6" fmla="*/ 16383 h 32480"/>
                    <a:gd name="connsiteX7" fmla="*/ 90868 w 90868"/>
                    <a:gd name="connsiteY7" fmla="*/ 16383 h 32480"/>
                    <a:gd name="connsiteX8" fmla="*/ 73342 w 90868"/>
                    <a:gd name="connsiteY8" fmla="*/ 32480 h 32480"/>
                    <a:gd name="connsiteX9" fmla="*/ 67437 w 90868"/>
                    <a:gd name="connsiteY9" fmla="*/ 32480 h 3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68" h="32480">
                      <a:moveTo>
                        <a:pt x="23051" y="32480"/>
                      </a:moveTo>
                      <a:cubicBezTo>
                        <a:pt x="17145" y="32480"/>
                        <a:pt x="17145" y="32480"/>
                        <a:pt x="17145" y="32480"/>
                      </a:cubicBezTo>
                      <a:cubicBezTo>
                        <a:pt x="7525" y="32480"/>
                        <a:pt x="0" y="25336"/>
                        <a:pt x="0" y="16383"/>
                      </a:cubicBezTo>
                      <a:lnTo>
                        <a:pt x="0" y="16383"/>
                      </a:lnTo>
                      <a:cubicBezTo>
                        <a:pt x="0" y="7429"/>
                        <a:pt x="7620" y="0"/>
                        <a:pt x="17145" y="0"/>
                      </a:cubicBezTo>
                      <a:cubicBezTo>
                        <a:pt x="73342" y="0"/>
                        <a:pt x="73342" y="0"/>
                        <a:pt x="73342" y="0"/>
                      </a:cubicBezTo>
                      <a:cubicBezTo>
                        <a:pt x="82963" y="0"/>
                        <a:pt x="90868" y="7429"/>
                        <a:pt x="90868" y="16383"/>
                      </a:cubicBezTo>
                      <a:lnTo>
                        <a:pt x="90868" y="16383"/>
                      </a:lnTo>
                      <a:cubicBezTo>
                        <a:pt x="90868" y="25336"/>
                        <a:pt x="82963" y="32480"/>
                        <a:pt x="73342" y="32480"/>
                      </a:cubicBezTo>
                      <a:cubicBezTo>
                        <a:pt x="67437" y="32480"/>
                        <a:pt x="67437" y="32480"/>
                        <a:pt x="67437" y="3248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80" name="Freeform: Shape 79">
                  <a:extLst>
                    <a:ext uri="{FF2B5EF4-FFF2-40B4-BE49-F238E27FC236}">
                      <a16:creationId xmlns:a16="http://schemas.microsoft.com/office/drawing/2014/main" id="{3D902446-EF63-4D80-B7F5-A909183452AF}"/>
                    </a:ext>
                  </a:extLst>
                </p:cNvPr>
                <p:cNvSpPr/>
                <p:nvPr/>
              </p:nvSpPr>
              <p:spPr>
                <a:xfrm>
                  <a:off x="6117462" y="3598036"/>
                  <a:ext cx="90868" cy="32480"/>
                </a:xfrm>
                <a:custGeom>
                  <a:avLst/>
                  <a:gdLst>
                    <a:gd name="connsiteX0" fmla="*/ 73343 w 90868"/>
                    <a:gd name="connsiteY0" fmla="*/ 32480 h 32480"/>
                    <a:gd name="connsiteX1" fmla="*/ 90868 w 90868"/>
                    <a:gd name="connsiteY1" fmla="*/ 16383 h 32480"/>
                    <a:gd name="connsiteX2" fmla="*/ 90868 w 90868"/>
                    <a:gd name="connsiteY2" fmla="*/ 16383 h 32480"/>
                    <a:gd name="connsiteX3" fmla="*/ 73343 w 90868"/>
                    <a:gd name="connsiteY3" fmla="*/ 0 h 32480"/>
                    <a:gd name="connsiteX4" fmla="*/ 17145 w 90868"/>
                    <a:gd name="connsiteY4" fmla="*/ 0 h 32480"/>
                    <a:gd name="connsiteX5" fmla="*/ 0 w 90868"/>
                    <a:gd name="connsiteY5" fmla="*/ 16383 h 32480"/>
                    <a:gd name="connsiteX6" fmla="*/ 0 w 90868"/>
                    <a:gd name="connsiteY6" fmla="*/ 16383 h 32480"/>
                    <a:gd name="connsiteX7" fmla="*/ 17145 w 90868"/>
                    <a:gd name="connsiteY7" fmla="*/ 32480 h 3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68" h="32480">
                      <a:moveTo>
                        <a:pt x="73343" y="32480"/>
                      </a:moveTo>
                      <a:cubicBezTo>
                        <a:pt x="82963" y="32480"/>
                        <a:pt x="90868" y="25336"/>
                        <a:pt x="90868" y="16383"/>
                      </a:cubicBezTo>
                      <a:lnTo>
                        <a:pt x="90868" y="16383"/>
                      </a:lnTo>
                      <a:cubicBezTo>
                        <a:pt x="90868" y="7429"/>
                        <a:pt x="82963" y="0"/>
                        <a:pt x="73343" y="0"/>
                      </a:cubicBezTo>
                      <a:cubicBezTo>
                        <a:pt x="17145" y="0"/>
                        <a:pt x="17145" y="0"/>
                        <a:pt x="17145" y="0"/>
                      </a:cubicBezTo>
                      <a:cubicBezTo>
                        <a:pt x="7525" y="0"/>
                        <a:pt x="0" y="7429"/>
                        <a:pt x="0" y="16383"/>
                      </a:cubicBezTo>
                      <a:lnTo>
                        <a:pt x="0" y="16383"/>
                      </a:lnTo>
                      <a:cubicBezTo>
                        <a:pt x="0" y="25336"/>
                        <a:pt x="7620" y="32480"/>
                        <a:pt x="17145" y="3248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81" name="Freeform: Shape 80">
                  <a:extLst>
                    <a:ext uri="{FF2B5EF4-FFF2-40B4-BE49-F238E27FC236}">
                      <a16:creationId xmlns:a16="http://schemas.microsoft.com/office/drawing/2014/main" id="{77A6ACAC-517F-493D-8785-4BAC4FD9F278}"/>
                    </a:ext>
                  </a:extLst>
                </p:cNvPr>
                <p:cNvSpPr/>
                <p:nvPr/>
              </p:nvSpPr>
              <p:spPr>
                <a:xfrm>
                  <a:off x="6117462" y="3560126"/>
                  <a:ext cx="90868" cy="37909"/>
                </a:xfrm>
                <a:custGeom>
                  <a:avLst/>
                  <a:gdLst>
                    <a:gd name="connsiteX0" fmla="*/ 73343 w 90868"/>
                    <a:gd name="connsiteY0" fmla="*/ 37910 h 37909"/>
                    <a:gd name="connsiteX1" fmla="*/ 90868 w 90868"/>
                    <a:gd name="connsiteY1" fmla="*/ 19145 h 37909"/>
                    <a:gd name="connsiteX2" fmla="*/ 90868 w 90868"/>
                    <a:gd name="connsiteY2" fmla="*/ 19145 h 37909"/>
                    <a:gd name="connsiteX3" fmla="*/ 73343 w 90868"/>
                    <a:gd name="connsiteY3" fmla="*/ 0 h 37909"/>
                    <a:gd name="connsiteX4" fmla="*/ 17145 w 90868"/>
                    <a:gd name="connsiteY4" fmla="*/ 0 h 37909"/>
                    <a:gd name="connsiteX5" fmla="*/ 0 w 90868"/>
                    <a:gd name="connsiteY5" fmla="*/ 19145 h 37909"/>
                    <a:gd name="connsiteX6" fmla="*/ 0 w 90868"/>
                    <a:gd name="connsiteY6" fmla="*/ 19145 h 37909"/>
                    <a:gd name="connsiteX7" fmla="*/ 17145 w 90868"/>
                    <a:gd name="connsiteY7" fmla="*/ 37910 h 3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68" h="37909">
                      <a:moveTo>
                        <a:pt x="73343" y="37910"/>
                      </a:moveTo>
                      <a:cubicBezTo>
                        <a:pt x="82963" y="37910"/>
                        <a:pt x="90868" y="29623"/>
                        <a:pt x="90868" y="19145"/>
                      </a:cubicBezTo>
                      <a:lnTo>
                        <a:pt x="90868" y="19145"/>
                      </a:lnTo>
                      <a:cubicBezTo>
                        <a:pt x="90868" y="8668"/>
                        <a:pt x="82963" y="0"/>
                        <a:pt x="73343" y="0"/>
                      </a:cubicBezTo>
                      <a:cubicBezTo>
                        <a:pt x="17145" y="0"/>
                        <a:pt x="17145" y="0"/>
                        <a:pt x="17145" y="0"/>
                      </a:cubicBezTo>
                      <a:cubicBezTo>
                        <a:pt x="7525" y="0"/>
                        <a:pt x="0" y="8668"/>
                        <a:pt x="0" y="19145"/>
                      </a:cubicBezTo>
                      <a:lnTo>
                        <a:pt x="0" y="19145"/>
                      </a:lnTo>
                      <a:cubicBezTo>
                        <a:pt x="0" y="29623"/>
                        <a:pt x="7620" y="37910"/>
                        <a:pt x="17145" y="3791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82" name="Freeform: Shape 81">
                  <a:extLst>
                    <a:ext uri="{FF2B5EF4-FFF2-40B4-BE49-F238E27FC236}">
                      <a16:creationId xmlns:a16="http://schemas.microsoft.com/office/drawing/2014/main" id="{211ACC90-9E8B-4AA4-980E-94DF4934D501}"/>
                    </a:ext>
                  </a:extLst>
                </p:cNvPr>
                <p:cNvSpPr/>
                <p:nvPr/>
              </p:nvSpPr>
              <p:spPr>
                <a:xfrm>
                  <a:off x="6176231" y="3397725"/>
                  <a:ext cx="160305" cy="162401"/>
                </a:xfrm>
                <a:custGeom>
                  <a:avLst/>
                  <a:gdLst>
                    <a:gd name="connsiteX0" fmla="*/ 0 w 160305"/>
                    <a:gd name="connsiteY0" fmla="*/ 162401 h 162401"/>
                    <a:gd name="connsiteX1" fmla="*/ 160306 w 160305"/>
                    <a:gd name="connsiteY1" fmla="*/ 0 h 162401"/>
                  </a:gdLst>
                  <a:ahLst/>
                  <a:cxnLst>
                    <a:cxn ang="0">
                      <a:pos x="connsiteX0" y="connsiteY0"/>
                    </a:cxn>
                    <a:cxn ang="0">
                      <a:pos x="connsiteX1" y="connsiteY1"/>
                    </a:cxn>
                  </a:cxnLst>
                  <a:rect l="l" t="t" r="r" b="b"/>
                  <a:pathLst>
                    <a:path w="160305" h="162401">
                      <a:moveTo>
                        <a:pt x="0" y="162401"/>
                      </a:moveTo>
                      <a:cubicBezTo>
                        <a:pt x="54673" y="108013"/>
                        <a:pt x="107632" y="53054"/>
                        <a:pt x="160306" y="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83" name="Freeform: Shape 82">
                  <a:extLst>
                    <a:ext uri="{FF2B5EF4-FFF2-40B4-BE49-F238E27FC236}">
                      <a16:creationId xmlns:a16="http://schemas.microsoft.com/office/drawing/2014/main" id="{90EAD9E4-88A2-4CCA-A270-DC174CA55527}"/>
                    </a:ext>
                  </a:extLst>
                </p:cNvPr>
                <p:cNvSpPr/>
                <p:nvPr/>
              </p:nvSpPr>
              <p:spPr>
                <a:xfrm>
                  <a:off x="6085362" y="3619657"/>
                  <a:ext cx="32099" cy="32480"/>
                </a:xfrm>
                <a:custGeom>
                  <a:avLst/>
                  <a:gdLst>
                    <a:gd name="connsiteX0" fmla="*/ 0 w 32099"/>
                    <a:gd name="connsiteY0" fmla="*/ 32480 h 32480"/>
                    <a:gd name="connsiteX1" fmla="*/ 32099 w 32099"/>
                    <a:gd name="connsiteY1" fmla="*/ 0 h 32480"/>
                  </a:gdLst>
                  <a:ahLst/>
                  <a:cxnLst>
                    <a:cxn ang="0">
                      <a:pos x="connsiteX0" y="connsiteY0"/>
                    </a:cxn>
                    <a:cxn ang="0">
                      <a:pos x="connsiteX1" y="connsiteY1"/>
                    </a:cxn>
                  </a:cxnLst>
                  <a:rect l="l" t="t" r="r" b="b"/>
                  <a:pathLst>
                    <a:path w="32099" h="32480">
                      <a:moveTo>
                        <a:pt x="0" y="32480"/>
                      </a:moveTo>
                      <a:cubicBezTo>
                        <a:pt x="12192" y="22384"/>
                        <a:pt x="21146" y="9430"/>
                        <a:pt x="32099" y="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grpSp>
        </p:grpSp>
      </p:grpSp>
      <p:cxnSp>
        <p:nvCxnSpPr>
          <p:cNvPr id="92" name="Straight Connector 91">
            <a:extLst>
              <a:ext uri="{FF2B5EF4-FFF2-40B4-BE49-F238E27FC236}">
                <a16:creationId xmlns:a16="http://schemas.microsoft.com/office/drawing/2014/main" id="{B1D358F5-1D3B-4838-904F-428683E3EBC8}"/>
              </a:ext>
            </a:extLst>
          </p:cNvPr>
          <p:cNvCxnSpPr>
            <a:cxnSpLocks/>
          </p:cNvCxnSpPr>
          <p:nvPr/>
        </p:nvCxnSpPr>
        <p:spPr>
          <a:xfrm>
            <a:off x="1271319" y="2598856"/>
            <a:ext cx="5332681" cy="0"/>
          </a:xfrm>
          <a:prstGeom prst="line">
            <a:avLst/>
          </a:prstGeom>
          <a:ln w="6350" cap="rnd">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540B3C3-A74F-44DE-8554-151F26063646}"/>
              </a:ext>
            </a:extLst>
          </p:cNvPr>
          <p:cNvCxnSpPr>
            <a:cxnSpLocks/>
          </p:cNvCxnSpPr>
          <p:nvPr/>
        </p:nvCxnSpPr>
        <p:spPr>
          <a:xfrm>
            <a:off x="1271319" y="3845589"/>
            <a:ext cx="5332681" cy="0"/>
          </a:xfrm>
          <a:prstGeom prst="line">
            <a:avLst/>
          </a:prstGeom>
          <a:ln w="6350" cap="rnd">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6ED72C0-2A09-4502-8A81-02AE46CFF418}"/>
              </a:ext>
            </a:extLst>
          </p:cNvPr>
          <p:cNvCxnSpPr>
            <a:cxnSpLocks/>
          </p:cNvCxnSpPr>
          <p:nvPr/>
        </p:nvCxnSpPr>
        <p:spPr>
          <a:xfrm>
            <a:off x="1271319" y="5092322"/>
            <a:ext cx="5332681" cy="0"/>
          </a:xfrm>
          <a:prstGeom prst="line">
            <a:avLst/>
          </a:prstGeom>
          <a:ln w="6350" cap="rnd">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9123156"/>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CE28774-D6B6-41E4-B01C-99D0C585D596}"/>
              </a:ext>
            </a:extLst>
          </p:cNvPr>
          <p:cNvSpPr/>
          <p:nvPr/>
        </p:nvSpPr>
        <p:spPr bwMode="auto">
          <a:xfrm>
            <a:off x="1228726" y="4688465"/>
            <a:ext cx="5333999" cy="161429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7413B207-015B-4450-8CB0-125E9A313B6D}"/>
              </a:ext>
            </a:extLst>
          </p:cNvPr>
          <p:cNvSpPr>
            <a:spLocks noGrp="1"/>
          </p:cNvSpPr>
          <p:nvPr>
            <p:ph type="title"/>
          </p:nvPr>
        </p:nvSpPr>
        <p:spPr/>
        <p:txBody>
          <a:bodyPr/>
          <a:lstStyle/>
          <a:p>
            <a:r>
              <a:rPr lang="en-US"/>
              <a:t>Run a pilot</a:t>
            </a:r>
          </a:p>
        </p:txBody>
      </p:sp>
      <p:sp>
        <p:nvSpPr>
          <p:cNvPr id="3" name="Content Placeholder 2">
            <a:extLst>
              <a:ext uri="{FF2B5EF4-FFF2-40B4-BE49-F238E27FC236}">
                <a16:creationId xmlns:a16="http://schemas.microsoft.com/office/drawing/2014/main" id="{17477A94-6D4B-40AD-A76E-198083BBB535}"/>
              </a:ext>
            </a:extLst>
          </p:cNvPr>
          <p:cNvSpPr>
            <a:spLocks noGrp="1"/>
          </p:cNvSpPr>
          <p:nvPr>
            <p:ph sz="quarter" idx="10"/>
          </p:nvPr>
        </p:nvSpPr>
        <p:spPr>
          <a:xfrm>
            <a:off x="694731" y="1760653"/>
            <a:ext cx="4555238" cy="2215991"/>
          </a:xfrm>
        </p:spPr>
        <p:txBody>
          <a:bodyPr/>
          <a:lstStyle/>
          <a:p>
            <a:pPr marL="0" indent="0">
              <a:buNone/>
            </a:pPr>
            <a:r>
              <a:rPr lang="en-US" sz="1800"/>
              <a:t>Identify a user group to pilot rollout. Hold a session with your pilot group to learn about Viva Learning, learning scenarios, and a brief demo. Touch base with them regularly to gather feedback and adjust the rollout plan. Encourage them to be product advocates and start socializing Viva Learning with their peers and colleagues to generate buzz.</a:t>
            </a:r>
            <a:endParaRPr lang="en-US" sz="2400"/>
          </a:p>
        </p:txBody>
      </p:sp>
      <p:pic>
        <p:nvPicPr>
          <p:cNvPr id="5" name="Picture 4">
            <a:extLst>
              <a:ext uri="{FF2B5EF4-FFF2-40B4-BE49-F238E27FC236}">
                <a16:creationId xmlns:a16="http://schemas.microsoft.com/office/drawing/2014/main" id="{2065F3AF-9FDB-4B9D-8A75-EC75FEDA8772}"/>
              </a:ext>
            </a:extLst>
          </p:cNvPr>
          <p:cNvPicPr>
            <a:picLocks noChangeAspect="1"/>
          </p:cNvPicPr>
          <p:nvPr/>
        </p:nvPicPr>
        <p:blipFill>
          <a:blip r:embed="rId2"/>
          <a:stretch>
            <a:fillRect/>
          </a:stretch>
        </p:blipFill>
        <p:spPr>
          <a:xfrm>
            <a:off x="5514975" y="1580917"/>
            <a:ext cx="4730031" cy="2629017"/>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89143FFE-26E4-457C-93A6-268D95202AFB}"/>
              </a:ext>
            </a:extLst>
          </p:cNvPr>
          <p:cNvPicPr>
            <a:picLocks noChangeAspect="1"/>
          </p:cNvPicPr>
          <p:nvPr/>
        </p:nvPicPr>
        <p:blipFill>
          <a:blip r:embed="rId3"/>
          <a:stretch>
            <a:fillRect/>
          </a:stretch>
        </p:blipFill>
        <p:spPr>
          <a:xfrm>
            <a:off x="7092738" y="3867267"/>
            <a:ext cx="4722761" cy="2629016"/>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95B317C5-C3FA-4C76-8DDC-E9DF79949ACF}"/>
              </a:ext>
            </a:extLst>
          </p:cNvPr>
          <p:cNvSpPr txBox="1"/>
          <p:nvPr/>
        </p:nvSpPr>
        <p:spPr>
          <a:xfrm>
            <a:off x="1536595" y="5041582"/>
            <a:ext cx="4730031" cy="984885"/>
          </a:xfrm>
          <a:prstGeom prst="rect">
            <a:avLst/>
          </a:prstGeom>
          <a:noFill/>
        </p:spPr>
        <p:txBody>
          <a:bodyPr wrap="square" lIns="0" tIns="0" rIns="0" bIns="0" rtlCol="0">
            <a:spAutoFit/>
          </a:bodyPr>
          <a:lstStyle/>
          <a:p>
            <a:pPr algn="l"/>
            <a:r>
              <a:rPr lang="en-US" sz="1600"/>
              <a:t>Share the </a:t>
            </a:r>
            <a:r>
              <a:rPr lang="en-US" sz="1600">
                <a:hlinkClick r:id="rId4"/>
              </a:rPr>
              <a:t>Viva Learning Quickstart Guide </a:t>
            </a:r>
            <a:r>
              <a:rPr lang="en-US" sz="1600"/>
              <a:t>with your pilot group. The Quickstart Guide features step-by-step guidance for exploring the app, and “missions” to start introducing the app to others.</a:t>
            </a:r>
          </a:p>
        </p:txBody>
      </p:sp>
      <p:sp>
        <p:nvSpPr>
          <p:cNvPr id="11" name="Oval 10">
            <a:extLst>
              <a:ext uri="{FF2B5EF4-FFF2-40B4-BE49-F238E27FC236}">
                <a16:creationId xmlns:a16="http://schemas.microsoft.com/office/drawing/2014/main" id="{E16CBAC7-0F66-4022-A86F-2227B5AC8510}"/>
              </a:ext>
            </a:extLst>
          </p:cNvPr>
          <p:cNvSpPr/>
          <p:nvPr/>
        </p:nvSpPr>
        <p:spPr bwMode="auto">
          <a:xfrm>
            <a:off x="6358766" y="5277083"/>
            <a:ext cx="379906" cy="3799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accent1"/>
                </a:solidFill>
                <a:ea typeface="Segoe UI" pitchFamily="34" charset="0"/>
                <a:cs typeface="Segoe UI" pitchFamily="34" charset="0"/>
                <a:sym typeface="Wingdings" panose="05000000000000000000" pitchFamily="2" charset="2"/>
              </a:rPr>
              <a:t></a:t>
            </a:r>
            <a:endParaRPr lang="en-US">
              <a:solidFill>
                <a:schemeClr val="accent1"/>
              </a:solidFill>
              <a:ea typeface="Segoe UI" pitchFamily="34" charset="0"/>
              <a:cs typeface="Segoe UI" pitchFamily="34" charset="0"/>
            </a:endParaRPr>
          </a:p>
        </p:txBody>
      </p:sp>
    </p:spTree>
    <p:extLst>
      <p:ext uri="{BB962C8B-B14F-4D97-AF65-F5344CB8AC3E}">
        <p14:creationId xmlns:p14="http://schemas.microsoft.com/office/powerpoint/2010/main" val="251297009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1273C518-EB31-426B-AF6A-3ACB1DD8CDCD}"/>
              </a:ext>
            </a:extLst>
          </p:cNvPr>
          <p:cNvSpPr/>
          <p:nvPr/>
        </p:nvSpPr>
        <p:spPr bwMode="auto">
          <a:xfrm>
            <a:off x="1924050" y="2622456"/>
            <a:ext cx="10267950" cy="59171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a:spcBef>
                <a:spcPts val="0"/>
              </a:spcBef>
              <a:spcAft>
                <a:spcPts val="800"/>
              </a:spcAft>
            </a:pPr>
            <a:endParaRPr lang="en-US" sz="1200">
              <a:solidFill>
                <a:schemeClr val="tx1"/>
              </a:solidFill>
              <a:effectLst/>
              <a:latin typeface="+mj-lt"/>
              <a:ea typeface="Times New Roman" panose="02020603050405020304" pitchFamily="18" charset="0"/>
              <a:cs typeface="Times New Roman" panose="02020603050405020304" pitchFamily="18" charset="0"/>
            </a:endParaRPr>
          </a:p>
        </p:txBody>
      </p:sp>
      <p:sp>
        <p:nvSpPr>
          <p:cNvPr id="103" name="Rectangle 102">
            <a:extLst>
              <a:ext uri="{FF2B5EF4-FFF2-40B4-BE49-F238E27FC236}">
                <a16:creationId xmlns:a16="http://schemas.microsoft.com/office/drawing/2014/main" id="{41E6873B-D930-4F26-9DA3-03EDA983D333}"/>
              </a:ext>
            </a:extLst>
          </p:cNvPr>
          <p:cNvSpPr/>
          <p:nvPr/>
        </p:nvSpPr>
        <p:spPr bwMode="auto">
          <a:xfrm>
            <a:off x="1924050" y="4829265"/>
            <a:ext cx="10267950" cy="5917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a:spcBef>
                <a:spcPts val="0"/>
              </a:spcBef>
              <a:spcAft>
                <a:spcPts val="800"/>
              </a:spcAft>
            </a:pPr>
            <a:endParaRPr lang="en-US" sz="1200">
              <a:solidFill>
                <a:schemeClr val="tx1"/>
              </a:solidFill>
              <a:effectLst/>
              <a:latin typeface="+mj-lt"/>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p:txBody>
          <a:bodyPr/>
          <a:lstStyle/>
          <a:p>
            <a:r>
              <a:rPr lang="en-US"/>
              <a:t>Align training strategy to launch plan</a:t>
            </a:r>
          </a:p>
        </p:txBody>
      </p:sp>
      <p:sp>
        <p:nvSpPr>
          <p:cNvPr id="10" name="TextBox 9">
            <a:extLst>
              <a:ext uri="{FF2B5EF4-FFF2-40B4-BE49-F238E27FC236}">
                <a16:creationId xmlns:a16="http://schemas.microsoft.com/office/drawing/2014/main" id="{3E9D0479-8BA6-416D-9375-DD4B7CF02B17}"/>
              </a:ext>
            </a:extLst>
          </p:cNvPr>
          <p:cNvSpPr txBox="1"/>
          <p:nvPr/>
        </p:nvSpPr>
        <p:spPr>
          <a:xfrm>
            <a:off x="588263" y="1135361"/>
            <a:ext cx="11285855" cy="600164"/>
          </a:xfrm>
          <a:prstGeom prst="rect">
            <a:avLst/>
          </a:prstGeom>
          <a:noFill/>
        </p:spPr>
        <p:txBody>
          <a:bodyPr wrap="square" lIns="0" tIns="0" rIns="0">
            <a:spAutoFit/>
          </a:bodyPr>
          <a:lstStyle/>
          <a:p>
            <a:r>
              <a:rPr lang="en-US"/>
              <a:t>Design your training strategy to scale with your launch. Start with the groups that will champion Microsoft Viva Learning and IT, before launching to the broader organization.</a:t>
            </a:r>
          </a:p>
        </p:txBody>
      </p:sp>
      <p:sp>
        <p:nvSpPr>
          <p:cNvPr id="8" name="Arrow: Bent 7">
            <a:extLst>
              <a:ext uri="{FF2B5EF4-FFF2-40B4-BE49-F238E27FC236}">
                <a16:creationId xmlns:a16="http://schemas.microsoft.com/office/drawing/2014/main" id="{47EBDFB9-7D6E-4045-926B-C85BA6F5B6E9}"/>
              </a:ext>
            </a:extLst>
          </p:cNvPr>
          <p:cNvSpPr/>
          <p:nvPr/>
        </p:nvSpPr>
        <p:spPr bwMode="auto">
          <a:xfrm rot="16200000" flipV="1">
            <a:off x="-809745" y="3666562"/>
            <a:ext cx="3510349" cy="1958126"/>
          </a:xfrm>
          <a:prstGeom prst="bentArrow">
            <a:avLst>
              <a:gd name="adj1" fmla="val 25000"/>
              <a:gd name="adj2" fmla="val 0"/>
              <a:gd name="adj3" fmla="val 25000"/>
              <a:gd name="adj4" fmla="val 3401"/>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41" name="Arrow: Bent 40">
            <a:extLst>
              <a:ext uri="{FF2B5EF4-FFF2-40B4-BE49-F238E27FC236}">
                <a16:creationId xmlns:a16="http://schemas.microsoft.com/office/drawing/2014/main" id="{822C8B5B-9BF5-43B5-A17F-D02A1914E4A8}"/>
              </a:ext>
            </a:extLst>
          </p:cNvPr>
          <p:cNvSpPr/>
          <p:nvPr/>
        </p:nvSpPr>
        <p:spPr bwMode="auto">
          <a:xfrm>
            <a:off x="1924493" y="2301425"/>
            <a:ext cx="10267507" cy="1958126"/>
          </a:xfrm>
          <a:prstGeom prst="bentArrow">
            <a:avLst>
              <a:gd name="adj1" fmla="val 25000"/>
              <a:gd name="adj2" fmla="val 0"/>
              <a:gd name="adj3" fmla="val 25000"/>
              <a:gd name="adj4" fmla="val 4281"/>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2" name="Rectangle: Top Corners Rounded 41">
            <a:extLst>
              <a:ext uri="{FF2B5EF4-FFF2-40B4-BE49-F238E27FC236}">
                <a16:creationId xmlns:a16="http://schemas.microsoft.com/office/drawing/2014/main" id="{FC768FA4-AD31-4695-9454-5C9DC100B17A}"/>
              </a:ext>
            </a:extLst>
          </p:cNvPr>
          <p:cNvSpPr/>
          <p:nvPr/>
        </p:nvSpPr>
        <p:spPr bwMode="auto">
          <a:xfrm rot="16200000">
            <a:off x="-657618" y="3692699"/>
            <a:ext cx="3830061" cy="1334161"/>
          </a:xfrm>
          <a:prstGeom prst="round2SameRect">
            <a:avLst>
              <a:gd name="adj1" fmla="val 5917"/>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R="0" algn="ctr">
              <a:spcBef>
                <a:spcPts val="0"/>
              </a:spcBef>
              <a:spcAft>
                <a:spcPts val="800"/>
              </a:spcAft>
            </a:pPr>
            <a:endParaRPr lang="en-US" sz="1600" b="1">
              <a:solidFill>
                <a:schemeClr val="bg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9" name="Rectangle 28">
            <a:extLst>
              <a:ext uri="{FF2B5EF4-FFF2-40B4-BE49-F238E27FC236}">
                <a16:creationId xmlns:a16="http://schemas.microsoft.com/office/drawing/2014/main" id="{C1F9A64A-3E67-4C3D-8C74-01698CE59F4A}"/>
              </a:ext>
            </a:extLst>
          </p:cNvPr>
          <p:cNvSpPr/>
          <p:nvPr/>
        </p:nvSpPr>
        <p:spPr bwMode="auto">
          <a:xfrm>
            <a:off x="666977" y="5516430"/>
            <a:ext cx="1180874" cy="662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spcBef>
                <a:spcPts val="0"/>
              </a:spcBef>
              <a:spcAft>
                <a:spcPts val="800"/>
              </a:spcAft>
            </a:pPr>
            <a:r>
              <a:rPr lang="en-US" sz="1400">
                <a:solidFill>
                  <a:schemeClr val="bg1"/>
                </a:solidFill>
                <a:latin typeface="+mj-lt"/>
                <a:ea typeface="Times New Roman" panose="02020603050405020304" pitchFamily="18" charset="0"/>
                <a:cs typeface="Times New Roman" panose="02020603050405020304" pitchFamily="18" charset="0"/>
              </a:rPr>
              <a:t>Training methods</a:t>
            </a:r>
            <a:endParaRPr lang="en-US" sz="1400">
              <a:solidFill>
                <a:schemeClr val="bg1"/>
              </a:solidFill>
              <a:effectLst/>
              <a:latin typeface="+mj-lt"/>
              <a:ea typeface="Times New Roman" panose="02020603050405020304" pitchFamily="18" charset="0"/>
              <a:cs typeface="Times New Roman" panose="02020603050405020304" pitchFamily="18" charset="0"/>
            </a:endParaRPr>
          </a:p>
        </p:txBody>
      </p:sp>
      <p:grpSp>
        <p:nvGrpSpPr>
          <p:cNvPr id="126" name="Group 125">
            <a:extLst>
              <a:ext uri="{FF2B5EF4-FFF2-40B4-BE49-F238E27FC236}">
                <a16:creationId xmlns:a16="http://schemas.microsoft.com/office/drawing/2014/main" id="{64BAE5F4-9BCE-414F-9E68-FD347FAB725E}"/>
              </a:ext>
            </a:extLst>
          </p:cNvPr>
          <p:cNvGrpSpPr/>
          <p:nvPr/>
        </p:nvGrpSpPr>
        <p:grpSpPr>
          <a:xfrm>
            <a:off x="10171830" y="2017713"/>
            <a:ext cx="552893" cy="552893"/>
            <a:chOff x="10171830" y="2017713"/>
            <a:chExt cx="552893" cy="552893"/>
          </a:xfrm>
        </p:grpSpPr>
        <p:sp>
          <p:nvSpPr>
            <p:cNvPr id="57" name="Oval 56">
              <a:extLst>
                <a:ext uri="{FF2B5EF4-FFF2-40B4-BE49-F238E27FC236}">
                  <a16:creationId xmlns:a16="http://schemas.microsoft.com/office/drawing/2014/main" id="{5D99FC71-15FC-4F23-86CE-7BEE9F4362DB}"/>
                </a:ext>
              </a:extLst>
            </p:cNvPr>
            <p:cNvSpPr/>
            <p:nvPr/>
          </p:nvSpPr>
          <p:spPr bwMode="auto">
            <a:xfrm>
              <a:off x="10171830" y="2017713"/>
              <a:ext cx="552893" cy="552893"/>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58" name="Oval 57">
              <a:extLst>
                <a:ext uri="{FF2B5EF4-FFF2-40B4-BE49-F238E27FC236}">
                  <a16:creationId xmlns:a16="http://schemas.microsoft.com/office/drawing/2014/main" id="{BC32AD13-8AF2-4880-AC6F-4FA443B3AF61}"/>
                </a:ext>
              </a:extLst>
            </p:cNvPr>
            <p:cNvSpPr/>
            <p:nvPr/>
          </p:nvSpPr>
          <p:spPr bwMode="auto">
            <a:xfrm>
              <a:off x="10216278" y="2062162"/>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4</a:t>
              </a:r>
            </a:p>
          </p:txBody>
        </p:sp>
        <p:sp>
          <p:nvSpPr>
            <p:cNvPr id="59" name="Arc 58">
              <a:extLst>
                <a:ext uri="{FF2B5EF4-FFF2-40B4-BE49-F238E27FC236}">
                  <a16:creationId xmlns:a16="http://schemas.microsoft.com/office/drawing/2014/main" id="{4CE36197-7572-4C87-AB7C-6467EBC04513}"/>
                </a:ext>
              </a:extLst>
            </p:cNvPr>
            <p:cNvSpPr/>
            <p:nvPr/>
          </p:nvSpPr>
          <p:spPr bwMode="auto">
            <a:xfrm>
              <a:off x="10171830" y="2017713"/>
              <a:ext cx="552893" cy="552893"/>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60" name="Arc 59">
              <a:extLst>
                <a:ext uri="{FF2B5EF4-FFF2-40B4-BE49-F238E27FC236}">
                  <a16:creationId xmlns:a16="http://schemas.microsoft.com/office/drawing/2014/main" id="{22F242A6-033F-4171-A8B1-3E3AE04FE05A}"/>
                </a:ext>
              </a:extLst>
            </p:cNvPr>
            <p:cNvSpPr/>
            <p:nvPr/>
          </p:nvSpPr>
          <p:spPr bwMode="auto">
            <a:xfrm>
              <a:off x="10171830" y="2017713"/>
              <a:ext cx="552893" cy="552893"/>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grpSp>
      <p:grpSp>
        <p:nvGrpSpPr>
          <p:cNvPr id="87" name="Group 86">
            <a:extLst>
              <a:ext uri="{FF2B5EF4-FFF2-40B4-BE49-F238E27FC236}">
                <a16:creationId xmlns:a16="http://schemas.microsoft.com/office/drawing/2014/main" id="{B92AE439-A186-4CE4-92FA-940D5E54309A}"/>
              </a:ext>
            </a:extLst>
          </p:cNvPr>
          <p:cNvGrpSpPr/>
          <p:nvPr/>
        </p:nvGrpSpPr>
        <p:grpSpPr>
          <a:xfrm>
            <a:off x="7790881" y="2017713"/>
            <a:ext cx="552893" cy="552893"/>
            <a:chOff x="7575265" y="2017713"/>
            <a:chExt cx="552893" cy="552893"/>
          </a:xfrm>
        </p:grpSpPr>
        <p:sp>
          <p:nvSpPr>
            <p:cNvPr id="62" name="Oval 61">
              <a:extLst>
                <a:ext uri="{FF2B5EF4-FFF2-40B4-BE49-F238E27FC236}">
                  <a16:creationId xmlns:a16="http://schemas.microsoft.com/office/drawing/2014/main" id="{18E03B0E-BEB5-4B28-9757-FC25975A4BF9}"/>
                </a:ext>
              </a:extLst>
            </p:cNvPr>
            <p:cNvSpPr/>
            <p:nvPr/>
          </p:nvSpPr>
          <p:spPr bwMode="auto">
            <a:xfrm>
              <a:off x="7575265" y="2017713"/>
              <a:ext cx="552893" cy="552893"/>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63" name="Oval 62">
              <a:extLst>
                <a:ext uri="{FF2B5EF4-FFF2-40B4-BE49-F238E27FC236}">
                  <a16:creationId xmlns:a16="http://schemas.microsoft.com/office/drawing/2014/main" id="{0CE96520-4F52-470B-9DAE-DBE2F7511F24}"/>
                </a:ext>
              </a:extLst>
            </p:cNvPr>
            <p:cNvSpPr/>
            <p:nvPr/>
          </p:nvSpPr>
          <p:spPr bwMode="auto">
            <a:xfrm>
              <a:off x="7619713" y="2062162"/>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3</a:t>
              </a:r>
            </a:p>
          </p:txBody>
        </p:sp>
        <p:sp>
          <p:nvSpPr>
            <p:cNvPr id="64" name="Arc 63">
              <a:extLst>
                <a:ext uri="{FF2B5EF4-FFF2-40B4-BE49-F238E27FC236}">
                  <a16:creationId xmlns:a16="http://schemas.microsoft.com/office/drawing/2014/main" id="{88057821-C2D0-4795-983D-223072D384F8}"/>
                </a:ext>
              </a:extLst>
            </p:cNvPr>
            <p:cNvSpPr/>
            <p:nvPr/>
          </p:nvSpPr>
          <p:spPr bwMode="auto">
            <a:xfrm>
              <a:off x="7575265" y="2017713"/>
              <a:ext cx="552893" cy="552893"/>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65" name="Arc 64">
              <a:extLst>
                <a:ext uri="{FF2B5EF4-FFF2-40B4-BE49-F238E27FC236}">
                  <a16:creationId xmlns:a16="http://schemas.microsoft.com/office/drawing/2014/main" id="{556222DA-FE03-4B9F-B885-B0845BBE3ED0}"/>
                </a:ext>
              </a:extLst>
            </p:cNvPr>
            <p:cNvSpPr/>
            <p:nvPr/>
          </p:nvSpPr>
          <p:spPr bwMode="auto">
            <a:xfrm>
              <a:off x="7575265" y="2017713"/>
              <a:ext cx="552893" cy="552893"/>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grpSp>
      <p:grpSp>
        <p:nvGrpSpPr>
          <p:cNvPr id="86" name="Group 85">
            <a:extLst>
              <a:ext uri="{FF2B5EF4-FFF2-40B4-BE49-F238E27FC236}">
                <a16:creationId xmlns:a16="http://schemas.microsoft.com/office/drawing/2014/main" id="{71FA8484-52C3-44E2-85D5-7059B678E27B}"/>
              </a:ext>
            </a:extLst>
          </p:cNvPr>
          <p:cNvGrpSpPr/>
          <p:nvPr/>
        </p:nvGrpSpPr>
        <p:grpSpPr>
          <a:xfrm>
            <a:off x="5409932" y="2017713"/>
            <a:ext cx="552893" cy="552893"/>
            <a:chOff x="5302124" y="2017713"/>
            <a:chExt cx="552893" cy="552893"/>
          </a:xfrm>
        </p:grpSpPr>
        <p:sp>
          <p:nvSpPr>
            <p:cNvPr id="67" name="Oval 66">
              <a:extLst>
                <a:ext uri="{FF2B5EF4-FFF2-40B4-BE49-F238E27FC236}">
                  <a16:creationId xmlns:a16="http://schemas.microsoft.com/office/drawing/2014/main" id="{0F1103AE-2E9B-40FE-B9D2-2F4A5B589E8C}"/>
                </a:ext>
              </a:extLst>
            </p:cNvPr>
            <p:cNvSpPr/>
            <p:nvPr/>
          </p:nvSpPr>
          <p:spPr bwMode="auto">
            <a:xfrm>
              <a:off x="5302124" y="2017713"/>
              <a:ext cx="552893" cy="552893"/>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68" name="Oval 67">
              <a:extLst>
                <a:ext uri="{FF2B5EF4-FFF2-40B4-BE49-F238E27FC236}">
                  <a16:creationId xmlns:a16="http://schemas.microsoft.com/office/drawing/2014/main" id="{D4CC0013-0CD4-493A-83B3-A966C4737890}"/>
                </a:ext>
              </a:extLst>
            </p:cNvPr>
            <p:cNvSpPr/>
            <p:nvPr/>
          </p:nvSpPr>
          <p:spPr bwMode="auto">
            <a:xfrm>
              <a:off x="5346572" y="2062162"/>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2</a:t>
              </a:r>
            </a:p>
          </p:txBody>
        </p:sp>
        <p:sp>
          <p:nvSpPr>
            <p:cNvPr id="69" name="Arc 68">
              <a:extLst>
                <a:ext uri="{FF2B5EF4-FFF2-40B4-BE49-F238E27FC236}">
                  <a16:creationId xmlns:a16="http://schemas.microsoft.com/office/drawing/2014/main" id="{CD6B606A-F124-41A0-B69D-F1089BEE32C8}"/>
                </a:ext>
              </a:extLst>
            </p:cNvPr>
            <p:cNvSpPr/>
            <p:nvPr/>
          </p:nvSpPr>
          <p:spPr bwMode="auto">
            <a:xfrm>
              <a:off x="5302124" y="2017713"/>
              <a:ext cx="552893" cy="552893"/>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70" name="Arc 69">
              <a:extLst>
                <a:ext uri="{FF2B5EF4-FFF2-40B4-BE49-F238E27FC236}">
                  <a16:creationId xmlns:a16="http://schemas.microsoft.com/office/drawing/2014/main" id="{E4C4FC25-1246-4848-BA15-57A8E6F12F19}"/>
                </a:ext>
              </a:extLst>
            </p:cNvPr>
            <p:cNvSpPr/>
            <p:nvPr/>
          </p:nvSpPr>
          <p:spPr bwMode="auto">
            <a:xfrm>
              <a:off x="5302124" y="2017713"/>
              <a:ext cx="552893" cy="552893"/>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grpSp>
      <p:sp>
        <p:nvSpPr>
          <p:cNvPr id="72" name="Oval 71">
            <a:extLst>
              <a:ext uri="{FF2B5EF4-FFF2-40B4-BE49-F238E27FC236}">
                <a16:creationId xmlns:a16="http://schemas.microsoft.com/office/drawing/2014/main" id="{7C0B3857-1B97-404C-8D84-7277AF9007D0}"/>
              </a:ext>
            </a:extLst>
          </p:cNvPr>
          <p:cNvSpPr/>
          <p:nvPr/>
        </p:nvSpPr>
        <p:spPr bwMode="auto">
          <a:xfrm>
            <a:off x="3028983" y="2017713"/>
            <a:ext cx="552893" cy="552893"/>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73" name="Oval 72">
            <a:extLst>
              <a:ext uri="{FF2B5EF4-FFF2-40B4-BE49-F238E27FC236}">
                <a16:creationId xmlns:a16="http://schemas.microsoft.com/office/drawing/2014/main" id="{806DE38E-25A2-4A04-B852-6E9C50D6AF9E}"/>
              </a:ext>
            </a:extLst>
          </p:cNvPr>
          <p:cNvSpPr/>
          <p:nvPr/>
        </p:nvSpPr>
        <p:spPr bwMode="auto">
          <a:xfrm>
            <a:off x="3073431" y="2062162"/>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1</a:t>
            </a:r>
          </a:p>
        </p:txBody>
      </p:sp>
      <p:sp>
        <p:nvSpPr>
          <p:cNvPr id="74" name="Arc 73">
            <a:extLst>
              <a:ext uri="{FF2B5EF4-FFF2-40B4-BE49-F238E27FC236}">
                <a16:creationId xmlns:a16="http://schemas.microsoft.com/office/drawing/2014/main" id="{DDAA055F-4CC5-49B7-8F52-A2D029892A3D}"/>
              </a:ext>
            </a:extLst>
          </p:cNvPr>
          <p:cNvSpPr/>
          <p:nvPr/>
        </p:nvSpPr>
        <p:spPr bwMode="auto">
          <a:xfrm>
            <a:off x="3028983" y="2017713"/>
            <a:ext cx="552893" cy="552893"/>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75" name="Arc 74">
            <a:extLst>
              <a:ext uri="{FF2B5EF4-FFF2-40B4-BE49-F238E27FC236}">
                <a16:creationId xmlns:a16="http://schemas.microsoft.com/office/drawing/2014/main" id="{E44418AB-ECD0-469D-9342-CD96C652F5EB}"/>
              </a:ext>
            </a:extLst>
          </p:cNvPr>
          <p:cNvSpPr/>
          <p:nvPr/>
        </p:nvSpPr>
        <p:spPr bwMode="auto">
          <a:xfrm>
            <a:off x="3028983" y="2017713"/>
            <a:ext cx="552893" cy="552893"/>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err="1">
              <a:solidFill>
                <a:schemeClr val="bg1"/>
              </a:solidFill>
              <a:cs typeface="Segoe UI" pitchFamily="34" charset="0"/>
            </a:endParaRPr>
          </a:p>
        </p:txBody>
      </p:sp>
      <p:sp>
        <p:nvSpPr>
          <p:cNvPr id="27" name="Rectangle 26">
            <a:extLst>
              <a:ext uri="{FF2B5EF4-FFF2-40B4-BE49-F238E27FC236}">
                <a16:creationId xmlns:a16="http://schemas.microsoft.com/office/drawing/2014/main" id="{FB04841B-016E-43EF-B7CF-EF5EA76D0F6E}"/>
              </a:ext>
            </a:extLst>
          </p:cNvPr>
          <p:cNvSpPr/>
          <p:nvPr/>
        </p:nvSpPr>
        <p:spPr bwMode="auto">
          <a:xfrm>
            <a:off x="590332" y="2622456"/>
            <a:ext cx="1334161" cy="591718"/>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a:spcBef>
                <a:spcPts val="0"/>
              </a:spcBef>
              <a:spcAft>
                <a:spcPts val="800"/>
              </a:spcAft>
            </a:pPr>
            <a:r>
              <a:rPr lang="en-US" sz="1400">
                <a:solidFill>
                  <a:schemeClr val="bg1"/>
                </a:solidFill>
                <a:latin typeface="+mj-lt"/>
                <a:ea typeface="Times New Roman" panose="02020603050405020304" pitchFamily="18" charset="0"/>
                <a:cs typeface="Times New Roman" panose="02020603050405020304" pitchFamily="18" charset="0"/>
              </a:rPr>
              <a:t>Audience</a:t>
            </a:r>
            <a:br>
              <a:rPr lang="en-US" sz="1400">
                <a:solidFill>
                  <a:schemeClr val="bg1"/>
                </a:solidFill>
                <a:latin typeface="+mj-lt"/>
                <a:ea typeface="Times New Roman" panose="02020603050405020304" pitchFamily="18" charset="0"/>
                <a:cs typeface="Times New Roman" panose="02020603050405020304" pitchFamily="18" charset="0"/>
              </a:rPr>
            </a:br>
            <a:r>
              <a:rPr lang="en-US" sz="1400">
                <a:solidFill>
                  <a:schemeClr val="bg1"/>
                </a:solidFill>
                <a:latin typeface="+mj-lt"/>
                <a:ea typeface="Times New Roman" panose="02020603050405020304" pitchFamily="18" charset="0"/>
                <a:cs typeface="Times New Roman" panose="02020603050405020304" pitchFamily="18" charset="0"/>
              </a:rPr>
              <a:t>group</a:t>
            </a:r>
            <a:endParaRPr lang="en-US" sz="1400">
              <a:solidFill>
                <a:schemeClr val="bg1"/>
              </a:solidFill>
              <a:effectLst/>
              <a:latin typeface="+mj-lt"/>
              <a:ea typeface="Times New Roman" panose="02020603050405020304" pitchFamily="18" charset="0"/>
              <a:cs typeface="Times New Roman" panose="02020603050405020304" pitchFamily="18" charset="0"/>
            </a:endParaRPr>
          </a:p>
        </p:txBody>
      </p:sp>
      <p:sp>
        <p:nvSpPr>
          <p:cNvPr id="76" name="Rectangle 75">
            <a:extLst>
              <a:ext uri="{FF2B5EF4-FFF2-40B4-BE49-F238E27FC236}">
                <a16:creationId xmlns:a16="http://schemas.microsoft.com/office/drawing/2014/main" id="{184CC5C2-4855-4D45-90C8-D846BE15BEAB}"/>
              </a:ext>
            </a:extLst>
          </p:cNvPr>
          <p:cNvSpPr/>
          <p:nvPr/>
        </p:nvSpPr>
        <p:spPr bwMode="auto">
          <a:xfrm>
            <a:off x="2284148" y="2640349"/>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tx1"/>
                </a:solidFill>
              </a:rPr>
              <a:t>Core team</a:t>
            </a:r>
          </a:p>
        </p:txBody>
      </p:sp>
      <p:sp>
        <p:nvSpPr>
          <p:cNvPr id="77" name="Rectangle 76">
            <a:extLst>
              <a:ext uri="{FF2B5EF4-FFF2-40B4-BE49-F238E27FC236}">
                <a16:creationId xmlns:a16="http://schemas.microsoft.com/office/drawing/2014/main" id="{AD12944A-AC5B-4E6C-BBF8-75D768AEC249}"/>
              </a:ext>
            </a:extLst>
          </p:cNvPr>
          <p:cNvSpPr/>
          <p:nvPr/>
        </p:nvSpPr>
        <p:spPr bwMode="auto">
          <a:xfrm>
            <a:off x="4680837" y="2640349"/>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tx1"/>
                </a:solidFill>
              </a:rPr>
              <a:t>Stakeholders</a:t>
            </a:r>
          </a:p>
        </p:txBody>
      </p:sp>
      <p:sp>
        <p:nvSpPr>
          <p:cNvPr id="78" name="Rectangle 77">
            <a:extLst>
              <a:ext uri="{FF2B5EF4-FFF2-40B4-BE49-F238E27FC236}">
                <a16:creationId xmlns:a16="http://schemas.microsoft.com/office/drawing/2014/main" id="{ACE9B219-CC85-4949-89C5-067AF4982113}"/>
              </a:ext>
            </a:extLst>
          </p:cNvPr>
          <p:cNvSpPr/>
          <p:nvPr/>
        </p:nvSpPr>
        <p:spPr bwMode="auto">
          <a:xfrm>
            <a:off x="7077526" y="2640349"/>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tx1"/>
                </a:solidFill>
              </a:rPr>
              <a:t>Company-wide</a:t>
            </a:r>
          </a:p>
        </p:txBody>
      </p:sp>
      <p:sp>
        <p:nvSpPr>
          <p:cNvPr id="79" name="Rectangle 78">
            <a:extLst>
              <a:ext uri="{FF2B5EF4-FFF2-40B4-BE49-F238E27FC236}">
                <a16:creationId xmlns:a16="http://schemas.microsoft.com/office/drawing/2014/main" id="{F91873DB-DD11-47ED-AC72-ACD6CEFC3FFC}"/>
              </a:ext>
            </a:extLst>
          </p:cNvPr>
          <p:cNvSpPr/>
          <p:nvPr/>
        </p:nvSpPr>
        <p:spPr bwMode="auto">
          <a:xfrm>
            <a:off x="9474212" y="2640349"/>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tx1"/>
                </a:solidFill>
              </a:rPr>
              <a:t>Ongoing engagement</a:t>
            </a:r>
          </a:p>
        </p:txBody>
      </p:sp>
      <p:grpSp>
        <p:nvGrpSpPr>
          <p:cNvPr id="88" name="Group 87">
            <a:extLst>
              <a:ext uri="{FF2B5EF4-FFF2-40B4-BE49-F238E27FC236}">
                <a16:creationId xmlns:a16="http://schemas.microsoft.com/office/drawing/2014/main" id="{A3D4FC33-55D6-4D00-BF9B-94ECD1220D46}"/>
              </a:ext>
            </a:extLst>
          </p:cNvPr>
          <p:cNvGrpSpPr/>
          <p:nvPr/>
        </p:nvGrpSpPr>
        <p:grpSpPr>
          <a:xfrm>
            <a:off x="4456556" y="2641506"/>
            <a:ext cx="4793378" cy="3698334"/>
            <a:chOff x="4456556" y="2874013"/>
            <a:chExt cx="4793378" cy="3465827"/>
          </a:xfrm>
        </p:grpSpPr>
        <p:cxnSp>
          <p:nvCxnSpPr>
            <p:cNvPr id="82" name="Straight Connector 81">
              <a:extLst>
                <a:ext uri="{FF2B5EF4-FFF2-40B4-BE49-F238E27FC236}">
                  <a16:creationId xmlns:a16="http://schemas.microsoft.com/office/drawing/2014/main" id="{59A52C3D-9952-4C42-AB5A-789D34CC6136}"/>
                </a:ext>
              </a:extLst>
            </p:cNvPr>
            <p:cNvCxnSpPr>
              <a:cxnSpLocks/>
            </p:cNvCxnSpPr>
            <p:nvPr/>
          </p:nvCxnSpPr>
          <p:spPr>
            <a:xfrm>
              <a:off x="4456556" y="2874013"/>
              <a:ext cx="0" cy="346582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2737009-2463-46B2-9F15-BD32B8F73D39}"/>
                </a:ext>
              </a:extLst>
            </p:cNvPr>
            <p:cNvCxnSpPr>
              <a:cxnSpLocks/>
            </p:cNvCxnSpPr>
            <p:nvPr/>
          </p:nvCxnSpPr>
          <p:spPr>
            <a:xfrm>
              <a:off x="6853245" y="2874013"/>
              <a:ext cx="0" cy="346582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4721ECF-D317-4402-9EC1-BA67E8685A95}"/>
                </a:ext>
              </a:extLst>
            </p:cNvPr>
            <p:cNvCxnSpPr>
              <a:cxnSpLocks/>
            </p:cNvCxnSpPr>
            <p:nvPr/>
          </p:nvCxnSpPr>
          <p:spPr>
            <a:xfrm>
              <a:off x="9249934" y="2874013"/>
              <a:ext cx="0" cy="346582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CFEB6F7A-DDA8-4F68-A92E-49F217C689B3}"/>
              </a:ext>
            </a:extLst>
          </p:cNvPr>
          <p:cNvSpPr/>
          <p:nvPr/>
        </p:nvSpPr>
        <p:spPr bwMode="auto">
          <a:xfrm>
            <a:off x="666977" y="3257070"/>
            <a:ext cx="1180874" cy="1529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spcBef>
                <a:spcPts val="0"/>
              </a:spcBef>
              <a:spcAft>
                <a:spcPts val="800"/>
              </a:spcAft>
            </a:pPr>
            <a:r>
              <a:rPr lang="en-US" sz="1400">
                <a:solidFill>
                  <a:schemeClr val="bg1"/>
                </a:solidFill>
                <a:latin typeface="+mj-lt"/>
                <a:ea typeface="Times New Roman" panose="02020603050405020304" pitchFamily="18" charset="0"/>
                <a:cs typeface="Times New Roman" panose="02020603050405020304" pitchFamily="18" charset="0"/>
              </a:rPr>
              <a:t>Audience members</a:t>
            </a:r>
            <a:endParaRPr lang="en-US" sz="1400">
              <a:solidFill>
                <a:schemeClr val="bg1"/>
              </a:solidFill>
              <a:effectLst/>
              <a:latin typeface="+mj-lt"/>
              <a:ea typeface="Times New Roman" panose="02020603050405020304" pitchFamily="18" charset="0"/>
              <a:cs typeface="Times New Roman" panose="02020603050405020304" pitchFamily="18" charset="0"/>
            </a:endParaRPr>
          </a:p>
        </p:txBody>
      </p:sp>
      <p:sp>
        <p:nvSpPr>
          <p:cNvPr id="97" name="Rectangle 96">
            <a:extLst>
              <a:ext uri="{FF2B5EF4-FFF2-40B4-BE49-F238E27FC236}">
                <a16:creationId xmlns:a16="http://schemas.microsoft.com/office/drawing/2014/main" id="{8203C1FB-E654-48B9-95AC-25AE02D6A36F}"/>
              </a:ext>
            </a:extLst>
          </p:cNvPr>
          <p:cNvSpPr/>
          <p:nvPr/>
        </p:nvSpPr>
        <p:spPr bwMode="auto">
          <a:xfrm>
            <a:off x="2284148" y="3257070"/>
            <a:ext cx="2127457" cy="1529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5100" lvl="1" indent="-165100" defTabSz="896181">
              <a:spcBef>
                <a:spcPts val="300"/>
              </a:spcBef>
              <a:buSzPct val="90000"/>
              <a:buFont typeface="Arial" panose="020B0604020202020204" pitchFamily="34" charset="0"/>
              <a:buChar char="•"/>
            </a:pPr>
            <a:r>
              <a:rPr lang="en-US" sz="1200">
                <a:solidFill>
                  <a:schemeClr val="tx1"/>
                </a:solidFill>
              </a:rPr>
              <a:t>Success Owner </a:t>
            </a:r>
          </a:p>
          <a:p>
            <a:pPr marL="165100" lvl="1" indent="-165100" defTabSz="896181">
              <a:spcBef>
                <a:spcPts val="300"/>
              </a:spcBef>
              <a:buSzPct val="90000"/>
              <a:buFont typeface="Arial" panose="020B0604020202020204" pitchFamily="34" charset="0"/>
              <a:buChar char="•"/>
            </a:pPr>
            <a:r>
              <a:rPr lang="en-US" sz="1200">
                <a:solidFill>
                  <a:schemeClr val="tx1"/>
                </a:solidFill>
              </a:rPr>
              <a:t>Early Adopters (pilot group)</a:t>
            </a:r>
          </a:p>
          <a:p>
            <a:pPr marL="165100" lvl="1" indent="-165100" defTabSz="896181">
              <a:spcBef>
                <a:spcPts val="300"/>
              </a:spcBef>
              <a:buSzPct val="90000"/>
              <a:buFont typeface="Arial" panose="020B0604020202020204" pitchFamily="34" charset="0"/>
              <a:buChar char="•"/>
            </a:pPr>
            <a:r>
              <a:rPr lang="en-US" sz="1200">
                <a:solidFill>
                  <a:schemeClr val="tx1"/>
                </a:solidFill>
              </a:rPr>
              <a:t>Champions</a:t>
            </a:r>
          </a:p>
          <a:p>
            <a:pPr marL="165100" lvl="1" indent="-165100" defTabSz="896181">
              <a:spcBef>
                <a:spcPts val="300"/>
              </a:spcBef>
              <a:buSzPct val="90000"/>
              <a:buFont typeface="Arial" panose="020B0604020202020204" pitchFamily="34" charset="0"/>
              <a:buChar char="•"/>
            </a:pPr>
            <a:r>
              <a:rPr lang="en-US" sz="1200">
                <a:solidFill>
                  <a:schemeClr val="tx1"/>
                </a:solidFill>
                <a:cs typeface="Segoe UI" panose="020B0502040204020203" pitchFamily="34" charset="0"/>
              </a:rPr>
              <a:t>Program Manager</a:t>
            </a:r>
          </a:p>
          <a:p>
            <a:pPr marL="165100" lvl="1" indent="-165100" defTabSz="896181">
              <a:spcBef>
                <a:spcPts val="300"/>
              </a:spcBef>
              <a:buSzPct val="90000"/>
              <a:buFont typeface="Arial" panose="020B0604020202020204" pitchFamily="34" charset="0"/>
              <a:buChar char="•"/>
            </a:pPr>
            <a:r>
              <a:rPr lang="en-US" sz="1200">
                <a:solidFill>
                  <a:schemeClr val="tx1"/>
                </a:solidFill>
                <a:cs typeface="Segoe UI" panose="020B0502040204020203" pitchFamily="34" charset="0"/>
              </a:rPr>
              <a:t>Employee Training Lead</a:t>
            </a:r>
          </a:p>
          <a:p>
            <a:pPr marL="165100" lvl="1" indent="-165100" defTabSz="896181">
              <a:spcBef>
                <a:spcPts val="300"/>
              </a:spcBef>
              <a:buSzPct val="90000"/>
              <a:buFont typeface="Arial" panose="020B0604020202020204" pitchFamily="34" charset="0"/>
              <a:buChar char="•"/>
            </a:pPr>
            <a:r>
              <a:rPr lang="en-US" sz="1200">
                <a:solidFill>
                  <a:schemeClr val="tx1"/>
                </a:solidFill>
                <a:cs typeface="Segoe UI" panose="020B0502040204020203" pitchFamily="34" charset="0"/>
              </a:rPr>
              <a:t>IT Specialists</a:t>
            </a:r>
          </a:p>
          <a:p>
            <a:pPr marL="165100" lvl="1" indent="-165100" defTabSz="896181">
              <a:spcBef>
                <a:spcPts val="300"/>
              </a:spcBef>
              <a:buSzPct val="90000"/>
              <a:buFont typeface="Arial" panose="020B0604020202020204" pitchFamily="34" charset="0"/>
              <a:buChar char="•"/>
            </a:pPr>
            <a:r>
              <a:rPr lang="en-US" sz="1200">
                <a:solidFill>
                  <a:schemeClr val="tx1"/>
                </a:solidFill>
                <a:cs typeface="Segoe UI" panose="020B0502040204020203" pitchFamily="34" charset="0"/>
              </a:rPr>
              <a:t>Communications Lead</a:t>
            </a:r>
            <a:endParaRPr lang="en-US" sz="1200">
              <a:solidFill>
                <a:schemeClr val="tx1"/>
              </a:solidFill>
              <a:effectLst/>
              <a:ea typeface="Times New Roman" panose="02020603050405020304" pitchFamily="18" charset="0"/>
              <a:cs typeface="Times New Roman" panose="02020603050405020304" pitchFamily="18" charset="0"/>
            </a:endParaRPr>
          </a:p>
        </p:txBody>
      </p:sp>
      <p:sp>
        <p:nvSpPr>
          <p:cNvPr id="98" name="Rectangle 97">
            <a:extLst>
              <a:ext uri="{FF2B5EF4-FFF2-40B4-BE49-F238E27FC236}">
                <a16:creationId xmlns:a16="http://schemas.microsoft.com/office/drawing/2014/main" id="{DAB4D982-64D2-46CD-B9E3-62552D5CEB14}"/>
              </a:ext>
            </a:extLst>
          </p:cNvPr>
          <p:cNvSpPr/>
          <p:nvPr/>
        </p:nvSpPr>
        <p:spPr bwMode="auto">
          <a:xfrm>
            <a:off x="4680837" y="3257070"/>
            <a:ext cx="2127457" cy="1529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5100" lvl="1" indent="-165100" defTabSz="896181">
              <a:spcBef>
                <a:spcPts val="300"/>
              </a:spcBef>
              <a:buSzPct val="90000"/>
              <a:buFont typeface="Arial" panose="020B0604020202020204" pitchFamily="34" charset="0"/>
              <a:buChar char="•"/>
            </a:pPr>
            <a:r>
              <a:rPr lang="en-US" sz="1200">
                <a:solidFill>
                  <a:schemeClr val="tx1"/>
                </a:solidFill>
              </a:rPr>
              <a:t>Executive Sponsors</a:t>
            </a:r>
          </a:p>
          <a:p>
            <a:pPr marL="165100" lvl="1" indent="-165100" defTabSz="896181">
              <a:spcBef>
                <a:spcPts val="300"/>
              </a:spcBef>
              <a:buSzPct val="90000"/>
              <a:buFont typeface="Arial" panose="020B0604020202020204" pitchFamily="34" charset="0"/>
              <a:buChar char="•"/>
            </a:pPr>
            <a:r>
              <a:rPr lang="en-US" sz="1200">
                <a:solidFill>
                  <a:schemeClr val="tx1"/>
                </a:solidFill>
              </a:rPr>
              <a:t>Department Leads (Stakeholders)</a:t>
            </a:r>
          </a:p>
        </p:txBody>
      </p:sp>
      <p:sp>
        <p:nvSpPr>
          <p:cNvPr id="99" name="Rectangle 98">
            <a:extLst>
              <a:ext uri="{FF2B5EF4-FFF2-40B4-BE49-F238E27FC236}">
                <a16:creationId xmlns:a16="http://schemas.microsoft.com/office/drawing/2014/main" id="{7E3426DF-A0D2-4910-AA2A-09E6ECD354E2}"/>
              </a:ext>
            </a:extLst>
          </p:cNvPr>
          <p:cNvSpPr/>
          <p:nvPr/>
        </p:nvSpPr>
        <p:spPr bwMode="auto">
          <a:xfrm>
            <a:off x="7077526" y="3257070"/>
            <a:ext cx="2127457" cy="1529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lvl="1" defTabSz="896181">
              <a:spcBef>
                <a:spcPts val="300"/>
              </a:spcBef>
              <a:buSzPct val="90000"/>
            </a:pPr>
            <a:r>
              <a:rPr lang="en-US" sz="1200">
                <a:solidFill>
                  <a:schemeClr val="tx1"/>
                </a:solidFill>
              </a:rPr>
              <a:t>All users</a:t>
            </a:r>
            <a:endParaRPr lang="en-US" sz="1200">
              <a:solidFill>
                <a:schemeClr val="tx1"/>
              </a:solidFill>
              <a:cs typeface="Segoe UI" panose="020B0502040204020203" pitchFamily="34" charset="0"/>
            </a:endParaRPr>
          </a:p>
        </p:txBody>
      </p:sp>
      <p:sp>
        <p:nvSpPr>
          <p:cNvPr id="100" name="Rectangle 99">
            <a:extLst>
              <a:ext uri="{FF2B5EF4-FFF2-40B4-BE49-F238E27FC236}">
                <a16:creationId xmlns:a16="http://schemas.microsoft.com/office/drawing/2014/main" id="{30C0F413-12CC-43D8-9343-34DE276A1973}"/>
              </a:ext>
            </a:extLst>
          </p:cNvPr>
          <p:cNvSpPr/>
          <p:nvPr/>
        </p:nvSpPr>
        <p:spPr bwMode="auto">
          <a:xfrm>
            <a:off x="9474212" y="3257070"/>
            <a:ext cx="2127457" cy="15293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lvl="1" defTabSz="896181">
              <a:spcBef>
                <a:spcPts val="600"/>
              </a:spcBef>
              <a:spcAft>
                <a:spcPts val="600"/>
              </a:spcAft>
              <a:buSzPct val="90000"/>
            </a:pPr>
            <a:r>
              <a:rPr lang="en-US" sz="1200">
                <a:solidFill>
                  <a:schemeClr val="tx1"/>
                </a:solidFill>
                <a:effectLst/>
                <a:ea typeface="Times New Roman" panose="02020603050405020304" pitchFamily="18" charset="0"/>
                <a:cs typeface="Times New Roman" panose="02020603050405020304" pitchFamily="18" charset="0"/>
              </a:rPr>
              <a:t>All users</a:t>
            </a:r>
          </a:p>
        </p:txBody>
      </p:sp>
      <p:sp>
        <p:nvSpPr>
          <p:cNvPr id="102" name="Rectangle 101">
            <a:extLst>
              <a:ext uri="{FF2B5EF4-FFF2-40B4-BE49-F238E27FC236}">
                <a16:creationId xmlns:a16="http://schemas.microsoft.com/office/drawing/2014/main" id="{EF56D53F-0A06-4A16-B96B-C38447147E83}"/>
              </a:ext>
            </a:extLst>
          </p:cNvPr>
          <p:cNvSpPr/>
          <p:nvPr/>
        </p:nvSpPr>
        <p:spPr bwMode="auto">
          <a:xfrm>
            <a:off x="590332" y="4829265"/>
            <a:ext cx="1334161" cy="591718"/>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R="0">
              <a:spcBef>
                <a:spcPts val="0"/>
              </a:spcBef>
              <a:spcAft>
                <a:spcPts val="800"/>
              </a:spcAft>
            </a:pPr>
            <a:r>
              <a:rPr lang="en-US" sz="1400">
                <a:solidFill>
                  <a:schemeClr val="bg1"/>
                </a:solidFill>
                <a:latin typeface="+mj-lt"/>
                <a:ea typeface="Times New Roman" panose="02020603050405020304" pitchFamily="18" charset="0"/>
                <a:cs typeface="Times New Roman" panose="02020603050405020304" pitchFamily="18" charset="0"/>
              </a:rPr>
              <a:t>Type of</a:t>
            </a:r>
            <a:br>
              <a:rPr lang="en-US" sz="1400">
                <a:solidFill>
                  <a:schemeClr val="bg1"/>
                </a:solidFill>
                <a:latin typeface="+mj-lt"/>
                <a:ea typeface="Times New Roman" panose="02020603050405020304" pitchFamily="18" charset="0"/>
                <a:cs typeface="Times New Roman" panose="02020603050405020304" pitchFamily="18" charset="0"/>
              </a:rPr>
            </a:br>
            <a:r>
              <a:rPr lang="en-US" sz="1400">
                <a:solidFill>
                  <a:schemeClr val="bg1"/>
                </a:solidFill>
                <a:latin typeface="+mj-lt"/>
                <a:ea typeface="Times New Roman" panose="02020603050405020304" pitchFamily="18" charset="0"/>
                <a:cs typeface="Times New Roman" panose="02020603050405020304" pitchFamily="18" charset="0"/>
              </a:rPr>
              <a:t>training</a:t>
            </a:r>
          </a:p>
        </p:txBody>
      </p:sp>
      <p:sp>
        <p:nvSpPr>
          <p:cNvPr id="104" name="Rectangle 103">
            <a:extLst>
              <a:ext uri="{FF2B5EF4-FFF2-40B4-BE49-F238E27FC236}">
                <a16:creationId xmlns:a16="http://schemas.microsoft.com/office/drawing/2014/main" id="{0C939722-A003-47C5-9C1D-290C71765C77}"/>
              </a:ext>
            </a:extLst>
          </p:cNvPr>
          <p:cNvSpPr/>
          <p:nvPr/>
        </p:nvSpPr>
        <p:spPr bwMode="auto">
          <a:xfrm>
            <a:off x="2284148" y="4847158"/>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tx1"/>
                </a:solidFill>
              </a:rPr>
              <a:t>Full user and admin training</a:t>
            </a:r>
          </a:p>
        </p:txBody>
      </p:sp>
      <p:sp>
        <p:nvSpPr>
          <p:cNvPr id="105" name="Rectangle 104">
            <a:extLst>
              <a:ext uri="{FF2B5EF4-FFF2-40B4-BE49-F238E27FC236}">
                <a16:creationId xmlns:a16="http://schemas.microsoft.com/office/drawing/2014/main" id="{591F8633-41D6-4272-BC05-F46AFA0B80D0}"/>
              </a:ext>
            </a:extLst>
          </p:cNvPr>
          <p:cNvSpPr/>
          <p:nvPr/>
        </p:nvSpPr>
        <p:spPr bwMode="auto">
          <a:xfrm>
            <a:off x="4680837" y="4847158"/>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tx1"/>
                </a:solidFill>
              </a:rPr>
              <a:t>User training</a:t>
            </a:r>
          </a:p>
        </p:txBody>
      </p:sp>
      <p:sp>
        <p:nvSpPr>
          <p:cNvPr id="106" name="Rectangle 105">
            <a:extLst>
              <a:ext uri="{FF2B5EF4-FFF2-40B4-BE49-F238E27FC236}">
                <a16:creationId xmlns:a16="http://schemas.microsoft.com/office/drawing/2014/main" id="{716C8141-09EB-4CCC-A55C-31D034FD0B17}"/>
              </a:ext>
            </a:extLst>
          </p:cNvPr>
          <p:cNvSpPr/>
          <p:nvPr/>
        </p:nvSpPr>
        <p:spPr bwMode="auto">
          <a:xfrm>
            <a:off x="7077526" y="4847158"/>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a:solidFill>
                  <a:schemeClr val="tx1"/>
                </a:solidFill>
              </a:rPr>
              <a:t>User training</a:t>
            </a:r>
          </a:p>
        </p:txBody>
      </p:sp>
      <p:sp>
        <p:nvSpPr>
          <p:cNvPr id="107" name="Rectangle 106">
            <a:extLst>
              <a:ext uri="{FF2B5EF4-FFF2-40B4-BE49-F238E27FC236}">
                <a16:creationId xmlns:a16="http://schemas.microsoft.com/office/drawing/2014/main" id="{9CEA524C-C3FF-45CB-B00E-986B60237D6F}"/>
              </a:ext>
            </a:extLst>
          </p:cNvPr>
          <p:cNvSpPr/>
          <p:nvPr/>
        </p:nvSpPr>
        <p:spPr bwMode="auto">
          <a:xfrm>
            <a:off x="9474212" y="4847158"/>
            <a:ext cx="1948127" cy="5559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896181">
              <a:spcBef>
                <a:spcPts val="300"/>
              </a:spcBef>
              <a:buSzPct val="90000"/>
            </a:pPr>
            <a:r>
              <a:rPr lang="en-US" sz="1200">
                <a:solidFill>
                  <a:schemeClr val="tx1"/>
                </a:solidFill>
              </a:rPr>
              <a:t>User training</a:t>
            </a:r>
          </a:p>
        </p:txBody>
      </p:sp>
      <p:sp>
        <p:nvSpPr>
          <p:cNvPr id="112" name="Rectangle 111">
            <a:extLst>
              <a:ext uri="{FF2B5EF4-FFF2-40B4-BE49-F238E27FC236}">
                <a16:creationId xmlns:a16="http://schemas.microsoft.com/office/drawing/2014/main" id="{EA6C1BEA-0E4B-4D4D-AEDE-1834E3B75F3D}"/>
              </a:ext>
            </a:extLst>
          </p:cNvPr>
          <p:cNvSpPr/>
          <p:nvPr/>
        </p:nvSpPr>
        <p:spPr bwMode="auto">
          <a:xfrm>
            <a:off x="2284148" y="5516430"/>
            <a:ext cx="2127457" cy="7446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lvl="1" indent="-171450" defTabSz="896181">
              <a:spcBef>
                <a:spcPts val="300"/>
              </a:spcBef>
              <a:buSzPct val="90000"/>
              <a:buFont typeface="Arial" panose="020B0604020202020204" pitchFamily="34" charset="0"/>
              <a:buChar char="•"/>
            </a:pPr>
            <a:r>
              <a:rPr lang="en-US" sz="1200">
                <a:solidFill>
                  <a:schemeClr val="tx1"/>
                </a:solidFill>
              </a:rPr>
              <a:t>Live training sessions</a:t>
            </a:r>
          </a:p>
          <a:p>
            <a:pPr marL="171450" lvl="1" indent="-171450" defTabSz="896181">
              <a:spcBef>
                <a:spcPts val="300"/>
              </a:spcBef>
              <a:buSzPct val="90000"/>
              <a:buFont typeface="Arial" panose="020B0604020202020204" pitchFamily="34" charset="0"/>
              <a:buChar char="•"/>
            </a:pPr>
            <a:r>
              <a:rPr lang="en-US" sz="1200">
                <a:solidFill>
                  <a:schemeClr val="tx1"/>
                </a:solidFill>
              </a:rPr>
              <a:t>Get started with the </a:t>
            </a:r>
            <a:r>
              <a:rPr lang="en-US" sz="1200">
                <a:solidFill>
                  <a:schemeClr val="tx1"/>
                </a:solidFill>
                <a:hlinkClick r:id="rId3"/>
              </a:rPr>
              <a:t>Viva Learning Quickstart guide</a:t>
            </a:r>
            <a:endParaRPr lang="en-US" sz="1200">
              <a:solidFill>
                <a:schemeClr val="tx1"/>
              </a:solidFill>
            </a:endParaRPr>
          </a:p>
          <a:p>
            <a:pPr marL="0" lvl="1" defTabSz="896181">
              <a:spcBef>
                <a:spcPts val="300"/>
              </a:spcBef>
              <a:buSzPct val="90000"/>
            </a:pPr>
            <a:endParaRPr lang="en-US" sz="1200">
              <a:solidFill>
                <a:schemeClr val="tx1"/>
              </a:solidFill>
            </a:endParaRPr>
          </a:p>
        </p:txBody>
      </p:sp>
      <p:sp>
        <p:nvSpPr>
          <p:cNvPr id="113" name="Rectangle 112">
            <a:extLst>
              <a:ext uri="{FF2B5EF4-FFF2-40B4-BE49-F238E27FC236}">
                <a16:creationId xmlns:a16="http://schemas.microsoft.com/office/drawing/2014/main" id="{9838268D-D655-4CC1-84F2-0E14FFD98D99}"/>
              </a:ext>
            </a:extLst>
          </p:cNvPr>
          <p:cNvSpPr/>
          <p:nvPr/>
        </p:nvSpPr>
        <p:spPr bwMode="auto">
          <a:xfrm>
            <a:off x="4680837" y="5516430"/>
            <a:ext cx="2127457" cy="7446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450" lvl="1" indent="-171450" defTabSz="896181">
              <a:spcBef>
                <a:spcPts val="300"/>
              </a:spcBef>
              <a:buSzPct val="90000"/>
              <a:buFont typeface="Arial" panose="020B0604020202020204" pitchFamily="34" charset="0"/>
              <a:buChar char="•"/>
            </a:pPr>
            <a:r>
              <a:rPr lang="en-US" sz="1200">
                <a:solidFill>
                  <a:schemeClr val="tx1"/>
                </a:solidFill>
              </a:rPr>
              <a:t>Live training sessions</a:t>
            </a:r>
          </a:p>
          <a:p>
            <a:pPr marL="171450" lvl="1" indent="-171450" defTabSz="896181">
              <a:spcBef>
                <a:spcPts val="300"/>
              </a:spcBef>
              <a:buSzPct val="90000"/>
              <a:buFont typeface="Arial" panose="020B0604020202020204" pitchFamily="34" charset="0"/>
              <a:buChar char="•"/>
            </a:pPr>
            <a:r>
              <a:rPr lang="en-US" sz="1200">
                <a:solidFill>
                  <a:schemeClr val="tx1"/>
                </a:solidFill>
              </a:rPr>
              <a:t>Get started with the </a:t>
            </a:r>
            <a:r>
              <a:rPr lang="en-US" sz="1200">
                <a:solidFill>
                  <a:schemeClr val="tx1"/>
                </a:solidFill>
                <a:hlinkClick r:id="rId3"/>
              </a:rPr>
              <a:t>Viva Learning Quickstart guide</a:t>
            </a:r>
            <a:endParaRPr lang="en-US" sz="1200">
              <a:solidFill>
                <a:schemeClr val="tx1"/>
              </a:solidFill>
            </a:endParaRPr>
          </a:p>
          <a:p>
            <a:pPr marL="0" lvl="1" defTabSz="896181">
              <a:spcBef>
                <a:spcPts val="300"/>
              </a:spcBef>
              <a:buSzPct val="90000"/>
            </a:pPr>
            <a:endParaRPr lang="en-US" sz="1200">
              <a:solidFill>
                <a:schemeClr val="tx1"/>
              </a:solidFill>
            </a:endParaRPr>
          </a:p>
        </p:txBody>
      </p:sp>
      <p:sp>
        <p:nvSpPr>
          <p:cNvPr id="114" name="Rectangle 113">
            <a:extLst>
              <a:ext uri="{FF2B5EF4-FFF2-40B4-BE49-F238E27FC236}">
                <a16:creationId xmlns:a16="http://schemas.microsoft.com/office/drawing/2014/main" id="{0569B8E3-86FC-4B12-A92B-A50820453EE5}"/>
              </a:ext>
            </a:extLst>
          </p:cNvPr>
          <p:cNvSpPr/>
          <p:nvPr/>
        </p:nvSpPr>
        <p:spPr bwMode="auto">
          <a:xfrm>
            <a:off x="7077526" y="5516430"/>
            <a:ext cx="2127457" cy="7446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5100" lvl="1" indent="-165100" defTabSz="896181">
              <a:spcBef>
                <a:spcPts val="300"/>
              </a:spcBef>
              <a:buSzPct val="90000"/>
              <a:buFont typeface="Arial" panose="020B0604020202020204" pitchFamily="34" charset="0"/>
              <a:buChar char="•"/>
            </a:pPr>
            <a:r>
              <a:rPr lang="en-US" sz="1200">
                <a:solidFill>
                  <a:schemeClr val="tx1"/>
                </a:solidFill>
              </a:rPr>
              <a:t>On-demand training sessions</a:t>
            </a:r>
          </a:p>
          <a:p>
            <a:pPr marL="165100" lvl="1" indent="-165100" defTabSz="896181">
              <a:spcBef>
                <a:spcPts val="300"/>
              </a:spcBef>
              <a:buSzPct val="90000"/>
              <a:buFont typeface="Arial" panose="020B0604020202020204" pitchFamily="34" charset="0"/>
              <a:buChar char="•"/>
            </a:pPr>
            <a:r>
              <a:rPr lang="en-US" sz="1200">
                <a:solidFill>
                  <a:schemeClr val="tx1"/>
                </a:solidFill>
              </a:rPr>
              <a:t>Brown bag training sessions</a:t>
            </a:r>
          </a:p>
          <a:p>
            <a:pPr marL="165100" lvl="1" indent="-165100" defTabSz="896181">
              <a:spcBef>
                <a:spcPts val="300"/>
              </a:spcBef>
              <a:buSzPct val="90000"/>
              <a:buFont typeface="Arial" panose="020B0604020202020204" pitchFamily="34" charset="0"/>
              <a:buChar char="•"/>
            </a:pPr>
            <a:r>
              <a:rPr lang="en-US" sz="1200">
                <a:solidFill>
                  <a:schemeClr val="tx1"/>
                </a:solidFill>
              </a:rPr>
              <a:t>Get started with the </a:t>
            </a:r>
            <a:r>
              <a:rPr lang="en-US" sz="1200">
                <a:solidFill>
                  <a:schemeClr val="tx1"/>
                </a:solidFill>
                <a:hlinkClick r:id="rId3"/>
              </a:rPr>
              <a:t>Viva Learning Quickstart guide</a:t>
            </a:r>
            <a:endParaRPr lang="en-US" sz="1200">
              <a:solidFill>
                <a:schemeClr val="tx1"/>
              </a:solidFill>
            </a:endParaRPr>
          </a:p>
          <a:p>
            <a:pPr marL="165100" lvl="1" indent="-165100" defTabSz="896181">
              <a:spcBef>
                <a:spcPts val="300"/>
              </a:spcBef>
              <a:buSzPct val="90000"/>
              <a:buFont typeface="Arial" panose="020B0604020202020204" pitchFamily="34" charset="0"/>
              <a:buChar char="•"/>
            </a:pPr>
            <a:endParaRPr lang="en-US" sz="1200">
              <a:solidFill>
                <a:schemeClr val="tx1"/>
              </a:solidFill>
            </a:endParaRPr>
          </a:p>
        </p:txBody>
      </p:sp>
      <p:sp>
        <p:nvSpPr>
          <p:cNvPr id="115" name="Rectangle 114">
            <a:extLst>
              <a:ext uri="{FF2B5EF4-FFF2-40B4-BE49-F238E27FC236}">
                <a16:creationId xmlns:a16="http://schemas.microsoft.com/office/drawing/2014/main" id="{0260F237-67FF-4AF9-8ED9-9355A10D359A}"/>
              </a:ext>
            </a:extLst>
          </p:cNvPr>
          <p:cNvSpPr/>
          <p:nvPr/>
        </p:nvSpPr>
        <p:spPr bwMode="auto">
          <a:xfrm>
            <a:off x="9474212" y="5516430"/>
            <a:ext cx="2127457" cy="74467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65100" lvl="1" indent="-165100" defTabSz="896181">
              <a:spcBef>
                <a:spcPts val="300"/>
              </a:spcBef>
              <a:buSzPct val="90000"/>
              <a:buFont typeface="Arial" panose="020B0604020202020204" pitchFamily="34" charset="0"/>
              <a:buChar char="•"/>
            </a:pPr>
            <a:r>
              <a:rPr lang="en-US" sz="1200">
                <a:solidFill>
                  <a:schemeClr val="tx1"/>
                </a:solidFill>
              </a:rPr>
              <a:t>Lunch and Learns</a:t>
            </a:r>
          </a:p>
          <a:p>
            <a:pPr marL="165100" lvl="1" indent="-165100" defTabSz="896181">
              <a:spcBef>
                <a:spcPts val="300"/>
              </a:spcBef>
              <a:buSzPct val="90000"/>
              <a:buFont typeface="Arial" panose="020B0604020202020204" pitchFamily="34" charset="0"/>
              <a:buChar char="•"/>
            </a:pPr>
            <a:r>
              <a:rPr lang="en-US" sz="1200">
                <a:solidFill>
                  <a:schemeClr val="tx1"/>
                </a:solidFill>
              </a:rPr>
              <a:t>Tips and tricks</a:t>
            </a:r>
          </a:p>
        </p:txBody>
      </p:sp>
      <p:grpSp>
        <p:nvGrpSpPr>
          <p:cNvPr id="119" name="Group 118">
            <a:extLst>
              <a:ext uri="{FF2B5EF4-FFF2-40B4-BE49-F238E27FC236}">
                <a16:creationId xmlns:a16="http://schemas.microsoft.com/office/drawing/2014/main" id="{92901FA2-B14A-444C-BAB7-EA36386ECF54}"/>
              </a:ext>
            </a:extLst>
          </p:cNvPr>
          <p:cNvGrpSpPr/>
          <p:nvPr/>
        </p:nvGrpSpPr>
        <p:grpSpPr>
          <a:xfrm>
            <a:off x="4405417" y="2231231"/>
            <a:ext cx="180974" cy="140493"/>
            <a:chOff x="4381500" y="2231231"/>
            <a:chExt cx="180974" cy="140493"/>
          </a:xfrm>
        </p:grpSpPr>
        <p:sp>
          <p:nvSpPr>
            <p:cNvPr id="118" name="Arrow: Chevron 117">
              <a:extLst>
                <a:ext uri="{FF2B5EF4-FFF2-40B4-BE49-F238E27FC236}">
                  <a16:creationId xmlns:a16="http://schemas.microsoft.com/office/drawing/2014/main" id="{5CCAAE23-FE79-4B69-857E-C9D34F193DB3}"/>
                </a:ext>
              </a:extLst>
            </p:cNvPr>
            <p:cNvSpPr/>
            <p:nvPr/>
          </p:nvSpPr>
          <p:spPr bwMode="auto">
            <a:xfrm>
              <a:off x="4421981" y="2231231"/>
              <a:ext cx="140493" cy="140493"/>
            </a:xfrm>
            <a:prstGeom prst="chevron">
              <a:avLst>
                <a:gd name="adj" fmla="val 386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17" name="Arrow: Chevron 116">
              <a:extLst>
                <a:ext uri="{FF2B5EF4-FFF2-40B4-BE49-F238E27FC236}">
                  <a16:creationId xmlns:a16="http://schemas.microsoft.com/office/drawing/2014/main" id="{EDB6FAE7-AA05-4BC4-AD2C-DFF109ACD6A2}"/>
                </a:ext>
              </a:extLst>
            </p:cNvPr>
            <p:cNvSpPr/>
            <p:nvPr/>
          </p:nvSpPr>
          <p:spPr bwMode="auto">
            <a:xfrm>
              <a:off x="4381500" y="2231231"/>
              <a:ext cx="140493" cy="140493"/>
            </a:xfrm>
            <a:prstGeom prst="chevron">
              <a:avLst>
                <a:gd name="adj" fmla="val 386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grpSp>
        <p:nvGrpSpPr>
          <p:cNvPr id="120" name="Group 119">
            <a:extLst>
              <a:ext uri="{FF2B5EF4-FFF2-40B4-BE49-F238E27FC236}">
                <a16:creationId xmlns:a16="http://schemas.microsoft.com/office/drawing/2014/main" id="{71A7FE52-B2CE-4C2A-A7B4-19B3F37C8BBA}"/>
              </a:ext>
            </a:extLst>
          </p:cNvPr>
          <p:cNvGrpSpPr/>
          <p:nvPr/>
        </p:nvGrpSpPr>
        <p:grpSpPr>
          <a:xfrm>
            <a:off x="6786366" y="2231231"/>
            <a:ext cx="180974" cy="140493"/>
            <a:chOff x="4381500" y="2231231"/>
            <a:chExt cx="180974" cy="140493"/>
          </a:xfrm>
        </p:grpSpPr>
        <p:sp>
          <p:nvSpPr>
            <p:cNvPr id="121" name="Arrow: Chevron 120">
              <a:extLst>
                <a:ext uri="{FF2B5EF4-FFF2-40B4-BE49-F238E27FC236}">
                  <a16:creationId xmlns:a16="http://schemas.microsoft.com/office/drawing/2014/main" id="{AA332A93-485B-4F1D-AEAA-80514C667D27}"/>
                </a:ext>
              </a:extLst>
            </p:cNvPr>
            <p:cNvSpPr/>
            <p:nvPr/>
          </p:nvSpPr>
          <p:spPr bwMode="auto">
            <a:xfrm>
              <a:off x="4421981" y="2231231"/>
              <a:ext cx="140493" cy="140493"/>
            </a:xfrm>
            <a:prstGeom prst="chevron">
              <a:avLst>
                <a:gd name="adj" fmla="val 386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22" name="Arrow: Chevron 121">
              <a:extLst>
                <a:ext uri="{FF2B5EF4-FFF2-40B4-BE49-F238E27FC236}">
                  <a16:creationId xmlns:a16="http://schemas.microsoft.com/office/drawing/2014/main" id="{E9B441D6-DF88-4D5B-A4A4-BFCD591C6D76}"/>
                </a:ext>
              </a:extLst>
            </p:cNvPr>
            <p:cNvSpPr/>
            <p:nvPr/>
          </p:nvSpPr>
          <p:spPr bwMode="auto">
            <a:xfrm>
              <a:off x="4381500" y="2231231"/>
              <a:ext cx="140493" cy="140493"/>
            </a:xfrm>
            <a:prstGeom prst="chevron">
              <a:avLst>
                <a:gd name="adj" fmla="val 386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grpSp>
        <p:nvGrpSpPr>
          <p:cNvPr id="123" name="Group 122">
            <a:extLst>
              <a:ext uri="{FF2B5EF4-FFF2-40B4-BE49-F238E27FC236}">
                <a16:creationId xmlns:a16="http://schemas.microsoft.com/office/drawing/2014/main" id="{9C8E5B2A-478F-4FF8-A06D-E88091B05AF4}"/>
              </a:ext>
            </a:extLst>
          </p:cNvPr>
          <p:cNvGrpSpPr/>
          <p:nvPr/>
        </p:nvGrpSpPr>
        <p:grpSpPr>
          <a:xfrm>
            <a:off x="9167315" y="2231231"/>
            <a:ext cx="180974" cy="140493"/>
            <a:chOff x="4381500" y="2231231"/>
            <a:chExt cx="180974" cy="140493"/>
          </a:xfrm>
        </p:grpSpPr>
        <p:sp>
          <p:nvSpPr>
            <p:cNvPr id="124" name="Arrow: Chevron 123">
              <a:extLst>
                <a:ext uri="{FF2B5EF4-FFF2-40B4-BE49-F238E27FC236}">
                  <a16:creationId xmlns:a16="http://schemas.microsoft.com/office/drawing/2014/main" id="{673EC41C-E3B2-470E-B854-C7D25DF73036}"/>
                </a:ext>
              </a:extLst>
            </p:cNvPr>
            <p:cNvSpPr/>
            <p:nvPr/>
          </p:nvSpPr>
          <p:spPr bwMode="auto">
            <a:xfrm>
              <a:off x="4421981" y="2231231"/>
              <a:ext cx="140493" cy="140493"/>
            </a:xfrm>
            <a:prstGeom prst="chevron">
              <a:avLst>
                <a:gd name="adj" fmla="val 386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sp>
          <p:nvSpPr>
            <p:cNvPr id="125" name="Arrow: Chevron 124">
              <a:extLst>
                <a:ext uri="{FF2B5EF4-FFF2-40B4-BE49-F238E27FC236}">
                  <a16:creationId xmlns:a16="http://schemas.microsoft.com/office/drawing/2014/main" id="{7194C39A-D313-4F27-B8E2-DCD89FE2BB53}"/>
                </a:ext>
              </a:extLst>
            </p:cNvPr>
            <p:cNvSpPr/>
            <p:nvPr/>
          </p:nvSpPr>
          <p:spPr bwMode="auto">
            <a:xfrm>
              <a:off x="4381500" y="2231231"/>
              <a:ext cx="140493" cy="140493"/>
            </a:xfrm>
            <a:prstGeom prst="chevron">
              <a:avLst>
                <a:gd name="adj" fmla="val 386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bg1"/>
                </a:solidFill>
                <a:ea typeface="Segoe UI" pitchFamily="34" charset="0"/>
                <a:cs typeface="Segoe UI" pitchFamily="34" charset="0"/>
              </a:endParaRPr>
            </a:p>
          </p:txBody>
        </p:sp>
      </p:grpSp>
      <p:cxnSp>
        <p:nvCxnSpPr>
          <p:cNvPr id="4" name="Straight Connector 3">
            <a:extLst>
              <a:ext uri="{FF2B5EF4-FFF2-40B4-BE49-F238E27FC236}">
                <a16:creationId xmlns:a16="http://schemas.microsoft.com/office/drawing/2014/main" id="{FB67413C-DB98-46E5-B5B0-C318B33DD997}"/>
              </a:ext>
            </a:extLst>
          </p:cNvPr>
          <p:cNvCxnSpPr>
            <a:cxnSpLocks/>
          </p:cNvCxnSpPr>
          <p:nvPr/>
        </p:nvCxnSpPr>
        <p:spPr>
          <a:xfrm>
            <a:off x="1924050" y="4907712"/>
            <a:ext cx="1026795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0D112D5-E7BE-4B79-B02F-777C16A74C49}"/>
              </a:ext>
            </a:extLst>
          </p:cNvPr>
          <p:cNvCxnSpPr>
            <a:cxnSpLocks/>
          </p:cNvCxnSpPr>
          <p:nvPr/>
        </p:nvCxnSpPr>
        <p:spPr>
          <a:xfrm>
            <a:off x="1924050" y="5403090"/>
            <a:ext cx="1026795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028911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Single Corner Rounded 57">
            <a:extLst>
              <a:ext uri="{FF2B5EF4-FFF2-40B4-BE49-F238E27FC236}">
                <a16:creationId xmlns:a16="http://schemas.microsoft.com/office/drawing/2014/main" id="{83C78B21-DAC6-4872-8F7A-040BE1AD3AAC}"/>
              </a:ext>
            </a:extLst>
          </p:cNvPr>
          <p:cNvSpPr/>
          <p:nvPr/>
        </p:nvSpPr>
        <p:spPr bwMode="auto">
          <a:xfrm rot="5400000">
            <a:off x="5397700" y="15359"/>
            <a:ext cx="863203" cy="11658602"/>
          </a:xfrm>
          <a:prstGeom prst="round1Rect">
            <a:avLst>
              <a:gd name="adj" fmla="val 10811"/>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136525" marR="0" lvl="0" algn="l" defTabSz="914080" rtl="0" eaLnBrk="1" fontAlgn="auto" latinLnBrk="0" hangingPunct="1">
              <a:lnSpc>
                <a:spcPct val="100000"/>
              </a:lnSpc>
              <a:spcBef>
                <a:spcPts val="0"/>
              </a:spcBef>
              <a:spcAft>
                <a:spcPts val="600"/>
              </a:spcAft>
              <a:buClrTx/>
              <a:buSzTx/>
              <a:tabLst/>
              <a:defRPr/>
            </a:pPr>
            <a:endParaRPr kumimoji="0" lang="en-US" b="0" i="0" u="none" strike="noStrike" kern="0" cap="none" normalizeH="0" baseline="0" noProof="0">
              <a:ln>
                <a:noFill/>
              </a:ln>
              <a:solidFill>
                <a:srgbClr val="000000"/>
              </a:solidFill>
              <a:effectLst/>
              <a:uLnTx/>
              <a:uFillTx/>
              <a:latin typeface="+mn-lt"/>
              <a:ea typeface="Segoe UI" pitchFamily="34" charset="0"/>
              <a:cs typeface="Segoe UI" pitchFamily="34" charset="0"/>
              <a:sym typeface="Wingdings"/>
            </a:endParaRPr>
          </a:p>
        </p:txBody>
      </p:sp>
      <p:sp>
        <p:nvSpPr>
          <p:cNvPr id="25" name="Rectangle 24">
            <a:extLst>
              <a:ext uri="{FF2B5EF4-FFF2-40B4-BE49-F238E27FC236}">
                <a16:creationId xmlns:a16="http://schemas.microsoft.com/office/drawing/2014/main" id="{046FDE74-0307-4C6E-B254-317032FB6A24}"/>
              </a:ext>
            </a:extLst>
          </p:cNvPr>
          <p:cNvSpPr/>
          <p:nvPr/>
        </p:nvSpPr>
        <p:spPr bwMode="auto">
          <a:xfrm rot="5400000">
            <a:off x="5733079" y="-3109931"/>
            <a:ext cx="1314806" cy="11603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136525" marR="0" lvl="0" algn="l" defTabSz="914080" rtl="0" eaLnBrk="1" fontAlgn="auto" latinLnBrk="0" hangingPunct="1">
              <a:lnSpc>
                <a:spcPct val="100000"/>
              </a:lnSpc>
              <a:spcBef>
                <a:spcPts val="0"/>
              </a:spcBef>
              <a:spcAft>
                <a:spcPts val="600"/>
              </a:spcAft>
              <a:buClrTx/>
              <a:buSzTx/>
              <a:tabLst/>
              <a:defRPr/>
            </a:pPr>
            <a:r>
              <a:rPr lang="en-US" kern="0">
                <a:solidFill>
                  <a:schemeClr val="tx1"/>
                </a:solidFill>
                <a:latin typeface="+mn-lt"/>
                <a:ea typeface="Segoe UI" pitchFamily="34" charset="0"/>
                <a:cs typeface="Segoe UI" pitchFamily="34" charset="0"/>
              </a:rPr>
              <a:t>Adopting new</a:t>
            </a:r>
            <a:r>
              <a:rPr kumimoji="0" lang="en-US" b="0" i="0" u="none" strike="noStrike" kern="0" cap="none" normalizeH="0" baseline="0" noProof="0">
                <a:ln>
                  <a:noFill/>
                </a:ln>
                <a:solidFill>
                  <a:schemeClr val="tx1"/>
                </a:solidFill>
                <a:effectLst/>
                <a:uLnTx/>
                <a:uFillTx/>
                <a:latin typeface="+mn-lt"/>
                <a:ea typeface="Segoe UI" pitchFamily="34" charset="0"/>
                <a:cs typeface="Segoe UI" pitchFamily="34" charset="0"/>
                <a:sym typeface="Wingdings"/>
              </a:rPr>
              <a:t> technology brings change, and change can be daunting. The purpose of this document is to help you successfully navigate attaining company-wide adoption of the Microsoft Viva Learning app in Teams. This easy-to-follow how-to guide will walk you through the steps of deploying Microsoft Viva Learning to your organization to help ensure your employees reach their learning objectives.</a:t>
            </a:r>
          </a:p>
        </p:txBody>
      </p:sp>
      <p:sp>
        <p:nvSpPr>
          <p:cNvPr id="2" name="Title 1">
            <a:extLst>
              <a:ext uri="{FF2B5EF4-FFF2-40B4-BE49-F238E27FC236}">
                <a16:creationId xmlns:a16="http://schemas.microsoft.com/office/drawing/2014/main" id="{7E7819D0-24F1-4A28-B677-1E8E7D93F1BB}"/>
              </a:ext>
            </a:extLst>
          </p:cNvPr>
          <p:cNvSpPr>
            <a:spLocks noGrp="1"/>
          </p:cNvSpPr>
          <p:nvPr>
            <p:ph type="title"/>
          </p:nvPr>
        </p:nvSpPr>
        <p:spPr>
          <a:xfrm>
            <a:off x="588963" y="457200"/>
            <a:ext cx="11017250" cy="554038"/>
          </a:xfrm>
        </p:spPr>
        <p:txBody>
          <a:bodyPr/>
          <a:lstStyle/>
          <a:p>
            <a:r>
              <a:rPr lang="en-US"/>
              <a:t>Adoption guide overview</a:t>
            </a:r>
          </a:p>
        </p:txBody>
      </p:sp>
      <p:sp>
        <p:nvSpPr>
          <p:cNvPr id="3" name="Rectangle: Top Corners Rounded 2">
            <a:extLst>
              <a:ext uri="{FF2B5EF4-FFF2-40B4-BE49-F238E27FC236}">
                <a16:creationId xmlns:a16="http://schemas.microsoft.com/office/drawing/2014/main" id="{FB1DF2C1-F32D-4C19-9ADF-114916FF3D2F}"/>
              </a:ext>
            </a:extLst>
          </p:cNvPr>
          <p:cNvSpPr/>
          <p:nvPr/>
        </p:nvSpPr>
        <p:spPr bwMode="auto">
          <a:xfrm rot="5400000">
            <a:off x="2467216" y="-433310"/>
            <a:ext cx="514630" cy="4271135"/>
          </a:xfrm>
          <a:prstGeom prst="round2SameRect">
            <a:avLst>
              <a:gd name="adj1" fmla="val 16992"/>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114300" defTabSz="932472" fontAlgn="base">
              <a:spcBef>
                <a:spcPct val="0"/>
              </a:spcBef>
              <a:spcAft>
                <a:spcPct val="0"/>
              </a:spcAft>
            </a:pPr>
            <a:r>
              <a:rPr lang="en-US" sz="2000">
                <a:solidFill>
                  <a:schemeClr val="bg1"/>
                </a:solidFill>
                <a:latin typeface="+mj-lt"/>
                <a:cs typeface="Segoe UI" pitchFamily="34" charset="0"/>
              </a:rPr>
              <a:t>Purpose of this document</a:t>
            </a:r>
          </a:p>
        </p:txBody>
      </p:sp>
      <p:sp>
        <p:nvSpPr>
          <p:cNvPr id="7" name="Arrow: U-Turn 6">
            <a:extLst>
              <a:ext uri="{FF2B5EF4-FFF2-40B4-BE49-F238E27FC236}">
                <a16:creationId xmlns:a16="http://schemas.microsoft.com/office/drawing/2014/main" id="{3BB46D7B-FF9B-4F5F-896D-77BBEBDA5ED9}"/>
              </a:ext>
            </a:extLst>
          </p:cNvPr>
          <p:cNvSpPr/>
          <p:nvPr/>
        </p:nvSpPr>
        <p:spPr bwMode="auto">
          <a:xfrm rot="5400000" flipV="1">
            <a:off x="5319654" y="-3420490"/>
            <a:ext cx="2141661" cy="11603039"/>
          </a:xfrm>
          <a:prstGeom prst="uturnArrow">
            <a:avLst>
              <a:gd name="adj1" fmla="val 25000"/>
              <a:gd name="adj2" fmla="val 0"/>
              <a:gd name="adj3" fmla="val 86439"/>
              <a:gd name="adj4" fmla="val 7243"/>
              <a:gd name="adj5" fmla="val 8226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cs typeface="Segoe UI" pitchFamily="34" charset="0"/>
            </a:endParaRPr>
          </a:p>
        </p:txBody>
      </p:sp>
      <p:sp>
        <p:nvSpPr>
          <p:cNvPr id="26" name="Arrow: U-Turn 25">
            <a:extLst>
              <a:ext uri="{FF2B5EF4-FFF2-40B4-BE49-F238E27FC236}">
                <a16:creationId xmlns:a16="http://schemas.microsoft.com/office/drawing/2014/main" id="{C193B89C-C549-47B6-9689-7695E9E17D48}"/>
              </a:ext>
            </a:extLst>
          </p:cNvPr>
          <p:cNvSpPr/>
          <p:nvPr/>
        </p:nvSpPr>
        <p:spPr bwMode="auto">
          <a:xfrm rot="16200000" flipV="1">
            <a:off x="4254624" y="-802764"/>
            <a:ext cx="3149357" cy="11658602"/>
          </a:xfrm>
          <a:prstGeom prst="uturnArrow">
            <a:avLst>
              <a:gd name="adj1" fmla="val 25000"/>
              <a:gd name="adj2" fmla="val 0"/>
              <a:gd name="adj3" fmla="val 86439"/>
              <a:gd name="adj4" fmla="val 7243"/>
              <a:gd name="adj5" fmla="val 8226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err="1">
              <a:solidFill>
                <a:srgbClr val="FFFFFF"/>
              </a:solidFill>
              <a:cs typeface="Segoe UI" pitchFamily="34" charset="0"/>
            </a:endParaRPr>
          </a:p>
        </p:txBody>
      </p:sp>
      <p:sp>
        <p:nvSpPr>
          <p:cNvPr id="27" name="Rectangle: Top Corners Rounded 26">
            <a:extLst>
              <a:ext uri="{FF2B5EF4-FFF2-40B4-BE49-F238E27FC236}">
                <a16:creationId xmlns:a16="http://schemas.microsoft.com/office/drawing/2014/main" id="{6756128A-8C96-4164-B7D7-08A4D577A4CB}"/>
              </a:ext>
            </a:extLst>
          </p:cNvPr>
          <p:cNvSpPr/>
          <p:nvPr/>
        </p:nvSpPr>
        <p:spPr bwMode="auto">
          <a:xfrm rot="5400000">
            <a:off x="5817426" y="1498615"/>
            <a:ext cx="514630" cy="5109215"/>
          </a:xfrm>
          <a:prstGeom prst="round2SameRect">
            <a:avLst>
              <a:gd name="adj1" fmla="val 0"/>
              <a:gd name="adj2" fmla="val 2221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114300" algn="ctr" defTabSz="932472" fontAlgn="base">
              <a:spcBef>
                <a:spcPct val="0"/>
              </a:spcBef>
              <a:spcAft>
                <a:spcPct val="0"/>
              </a:spcAft>
            </a:pPr>
            <a:r>
              <a:rPr lang="en-US" sz="2000">
                <a:solidFill>
                  <a:schemeClr val="accent1"/>
                </a:solidFill>
                <a:latin typeface="+mj-lt"/>
                <a:cs typeface="Segoe UI" pitchFamily="34" charset="0"/>
              </a:rPr>
              <a:t>Successful adoption looks like</a:t>
            </a:r>
          </a:p>
        </p:txBody>
      </p:sp>
      <p:sp>
        <p:nvSpPr>
          <p:cNvPr id="57" name="Rectangle 56">
            <a:extLst>
              <a:ext uri="{FF2B5EF4-FFF2-40B4-BE49-F238E27FC236}">
                <a16:creationId xmlns:a16="http://schemas.microsoft.com/office/drawing/2014/main" id="{BC6B6D0B-17F7-4D21-A531-47DCA416CF92}"/>
              </a:ext>
            </a:extLst>
          </p:cNvPr>
          <p:cNvSpPr>
            <a:spLocks/>
          </p:cNvSpPr>
          <p:nvPr/>
        </p:nvSpPr>
        <p:spPr bwMode="auto">
          <a:xfrm>
            <a:off x="8138450" y="5588206"/>
            <a:ext cx="3422070" cy="430887"/>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spcBef>
                <a:spcPct val="0"/>
              </a:spcBef>
              <a:spcAft>
                <a:spcPct val="0"/>
              </a:spcAft>
              <a:defRPr/>
            </a:pPr>
            <a:r>
              <a:rPr lang="en-US" sz="1400" kern="0">
                <a:ea typeface="Segoe UI" pitchFamily="34" charset="0"/>
                <a:cs typeface="Segoe UI" pitchFamily="34" charset="0"/>
              </a:rPr>
              <a:t>Long term adoption with data </a:t>
            </a:r>
          </a:p>
          <a:p>
            <a:pPr algn="ctr" defTabSz="932472" fontAlgn="base">
              <a:spcBef>
                <a:spcPct val="0"/>
              </a:spcBef>
              <a:spcAft>
                <a:spcPct val="0"/>
              </a:spcAft>
              <a:defRPr/>
            </a:pPr>
            <a:r>
              <a:rPr lang="en-US" sz="1400" kern="0">
                <a:ea typeface="Segoe UI" pitchFamily="34" charset="0"/>
                <a:cs typeface="Segoe UI" pitchFamily="34" charset="0"/>
              </a:rPr>
              <a:t>driven goals and relevant communications</a:t>
            </a:r>
          </a:p>
        </p:txBody>
      </p:sp>
      <p:sp>
        <p:nvSpPr>
          <p:cNvPr id="59" name="Rectangle 58">
            <a:extLst>
              <a:ext uri="{FF2B5EF4-FFF2-40B4-BE49-F238E27FC236}">
                <a16:creationId xmlns:a16="http://schemas.microsoft.com/office/drawing/2014/main" id="{A52F4DF6-BB38-4DFD-A205-D4A8A0907B07}"/>
              </a:ext>
            </a:extLst>
          </p:cNvPr>
          <p:cNvSpPr/>
          <p:nvPr/>
        </p:nvSpPr>
        <p:spPr bwMode="auto">
          <a:xfrm>
            <a:off x="9026525" y="5069893"/>
            <a:ext cx="1645920" cy="276999"/>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spcBef>
                <a:spcPct val="0"/>
              </a:spcBef>
              <a:spcAft>
                <a:spcPts val="600"/>
              </a:spcAft>
              <a:defRPr/>
            </a:pPr>
            <a:r>
              <a:rPr lang="en-US" kern="0">
                <a:solidFill>
                  <a:schemeClr val="accent1"/>
                </a:solidFill>
                <a:latin typeface="+mj-lt"/>
                <a:ea typeface="Segoe UI" pitchFamily="34" charset="0"/>
                <a:cs typeface="Segoe UI Semibold" panose="020B0702040204020203" pitchFamily="34" charset="0"/>
              </a:rPr>
              <a:t>Engagement</a:t>
            </a:r>
          </a:p>
        </p:txBody>
      </p:sp>
      <p:sp>
        <p:nvSpPr>
          <p:cNvPr id="62" name="Oval 61">
            <a:extLst>
              <a:ext uri="{FF2B5EF4-FFF2-40B4-BE49-F238E27FC236}">
                <a16:creationId xmlns:a16="http://schemas.microsoft.com/office/drawing/2014/main" id="{5F7149A1-ED8E-40F2-85AF-E1C7F07C2141}"/>
              </a:ext>
            </a:extLst>
          </p:cNvPr>
          <p:cNvSpPr/>
          <p:nvPr/>
        </p:nvSpPr>
        <p:spPr bwMode="auto">
          <a:xfrm>
            <a:off x="9627757" y="4568509"/>
            <a:ext cx="457386" cy="457384"/>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9" name="Group 8">
            <a:extLst>
              <a:ext uri="{FF2B5EF4-FFF2-40B4-BE49-F238E27FC236}">
                <a16:creationId xmlns:a16="http://schemas.microsoft.com/office/drawing/2014/main" id="{604AB978-6859-4040-B0A1-A21275C22CBE}"/>
              </a:ext>
            </a:extLst>
          </p:cNvPr>
          <p:cNvGrpSpPr/>
          <p:nvPr/>
        </p:nvGrpSpPr>
        <p:grpSpPr>
          <a:xfrm>
            <a:off x="9689016" y="4716615"/>
            <a:ext cx="334867" cy="161172"/>
            <a:chOff x="9518024" y="4436395"/>
            <a:chExt cx="662919" cy="319066"/>
          </a:xfrm>
        </p:grpSpPr>
        <p:sp>
          <p:nvSpPr>
            <p:cNvPr id="30" name="Freeform: Shape 29">
              <a:extLst>
                <a:ext uri="{FF2B5EF4-FFF2-40B4-BE49-F238E27FC236}">
                  <a16:creationId xmlns:a16="http://schemas.microsoft.com/office/drawing/2014/main" id="{8AE8175A-E81B-4FD4-BD0C-64632B2E4821}"/>
                </a:ext>
              </a:extLst>
            </p:cNvPr>
            <p:cNvSpPr/>
            <p:nvPr/>
          </p:nvSpPr>
          <p:spPr>
            <a:xfrm>
              <a:off x="9576555" y="4517880"/>
              <a:ext cx="138946" cy="152688"/>
            </a:xfrm>
            <a:custGeom>
              <a:avLst/>
              <a:gdLst>
                <a:gd name="connsiteX0" fmla="*/ 50768 w 260032"/>
                <a:gd name="connsiteY0" fmla="*/ 78962 h 285750"/>
                <a:gd name="connsiteX1" fmla="*/ 131064 w 260032"/>
                <a:gd name="connsiteY1" fmla="*/ 0 h 285750"/>
                <a:gd name="connsiteX2" fmla="*/ 212408 w 260032"/>
                <a:gd name="connsiteY2" fmla="*/ 78962 h 285750"/>
                <a:gd name="connsiteX3" fmla="*/ 131064 w 260032"/>
                <a:gd name="connsiteY3" fmla="*/ 157924 h 285750"/>
                <a:gd name="connsiteX4" fmla="*/ 50768 w 260032"/>
                <a:gd name="connsiteY4" fmla="*/ 78962 h 285750"/>
                <a:gd name="connsiteX5" fmla="*/ 50768 w 260032"/>
                <a:gd name="connsiteY5" fmla="*/ 78962 h 285750"/>
                <a:gd name="connsiteX6" fmla="*/ 260033 w 260032"/>
                <a:gd name="connsiteY6" fmla="*/ 285750 h 285750"/>
                <a:gd name="connsiteX7" fmla="*/ 130016 w 260032"/>
                <a:gd name="connsiteY7" fmla="*/ 157924 h 285750"/>
                <a:gd name="connsiteX8" fmla="*/ 0 w 260032"/>
                <a:gd name="connsiteY8"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32" h="285750">
                  <a:moveTo>
                    <a:pt x="50768" y="78962"/>
                  </a:moveTo>
                  <a:cubicBezTo>
                    <a:pt x="50768" y="35338"/>
                    <a:pt x="86678" y="0"/>
                    <a:pt x="131064" y="0"/>
                  </a:cubicBezTo>
                  <a:cubicBezTo>
                    <a:pt x="175451" y="0"/>
                    <a:pt x="212408" y="35338"/>
                    <a:pt x="212408" y="78962"/>
                  </a:cubicBezTo>
                  <a:cubicBezTo>
                    <a:pt x="212408" y="122587"/>
                    <a:pt x="175451" y="157924"/>
                    <a:pt x="131064" y="157924"/>
                  </a:cubicBezTo>
                  <a:cubicBezTo>
                    <a:pt x="86678" y="157924"/>
                    <a:pt x="50768" y="122587"/>
                    <a:pt x="50768" y="78962"/>
                  </a:cubicBezTo>
                  <a:lnTo>
                    <a:pt x="50768" y="78962"/>
                  </a:lnTo>
                  <a:close/>
                  <a:moveTo>
                    <a:pt x="260033" y="285750"/>
                  </a:moveTo>
                  <a:cubicBezTo>
                    <a:pt x="260033" y="215074"/>
                    <a:pt x="201930" y="157924"/>
                    <a:pt x="130016" y="157924"/>
                  </a:cubicBezTo>
                  <a:cubicBezTo>
                    <a:pt x="58103" y="157924"/>
                    <a:pt x="0" y="215074"/>
                    <a:pt x="0" y="285750"/>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 name="Freeform: Shape 30">
              <a:extLst>
                <a:ext uri="{FF2B5EF4-FFF2-40B4-BE49-F238E27FC236}">
                  <a16:creationId xmlns:a16="http://schemas.microsoft.com/office/drawing/2014/main" id="{33B86C05-EEEF-4D00-B8D5-9928C4A71332}"/>
                </a:ext>
              </a:extLst>
            </p:cNvPr>
            <p:cNvSpPr/>
            <p:nvPr/>
          </p:nvSpPr>
          <p:spPr>
            <a:xfrm>
              <a:off x="9518024" y="4470801"/>
              <a:ext cx="256006" cy="256006"/>
            </a:xfrm>
            <a:custGeom>
              <a:avLst/>
              <a:gdLst>
                <a:gd name="connsiteX0" fmla="*/ 479108 w 479107"/>
                <a:gd name="connsiteY0" fmla="*/ 239554 h 479107"/>
                <a:gd name="connsiteX1" fmla="*/ 239554 w 479107"/>
                <a:gd name="connsiteY1" fmla="*/ 479108 h 479107"/>
                <a:gd name="connsiteX2" fmla="*/ 0 w 479107"/>
                <a:gd name="connsiteY2" fmla="*/ 239554 h 479107"/>
                <a:gd name="connsiteX3" fmla="*/ 239554 w 479107"/>
                <a:gd name="connsiteY3" fmla="*/ 0 h 479107"/>
                <a:gd name="connsiteX4" fmla="*/ 479108 w 479107"/>
                <a:gd name="connsiteY4" fmla="*/ 239554 h 479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07" h="479107">
                  <a:moveTo>
                    <a:pt x="479108" y="239554"/>
                  </a:moveTo>
                  <a:cubicBezTo>
                    <a:pt x="479108" y="371856"/>
                    <a:pt x="371856" y="479108"/>
                    <a:pt x="239554" y="479108"/>
                  </a:cubicBezTo>
                  <a:cubicBezTo>
                    <a:pt x="107252" y="479108"/>
                    <a:pt x="0" y="371856"/>
                    <a:pt x="0" y="239554"/>
                  </a:cubicBezTo>
                  <a:cubicBezTo>
                    <a:pt x="0" y="107252"/>
                    <a:pt x="107252" y="0"/>
                    <a:pt x="239554" y="0"/>
                  </a:cubicBezTo>
                  <a:cubicBezTo>
                    <a:pt x="371856" y="0"/>
                    <a:pt x="479108" y="107252"/>
                    <a:pt x="479108" y="239554"/>
                  </a:cubicBez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 name="Freeform: Shape 31">
              <a:extLst>
                <a:ext uri="{FF2B5EF4-FFF2-40B4-BE49-F238E27FC236}">
                  <a16:creationId xmlns:a16="http://schemas.microsoft.com/office/drawing/2014/main" id="{097E6C8F-4719-4903-93EF-2D6F71277635}"/>
                </a:ext>
              </a:extLst>
            </p:cNvPr>
            <p:cNvSpPr/>
            <p:nvPr/>
          </p:nvSpPr>
          <p:spPr>
            <a:xfrm>
              <a:off x="9983416" y="4517880"/>
              <a:ext cx="138946" cy="152688"/>
            </a:xfrm>
            <a:custGeom>
              <a:avLst/>
              <a:gdLst>
                <a:gd name="connsiteX0" fmla="*/ 50864 w 260032"/>
                <a:gd name="connsiteY0" fmla="*/ 78962 h 285750"/>
                <a:gd name="connsiteX1" fmla="*/ 131159 w 260032"/>
                <a:gd name="connsiteY1" fmla="*/ 0 h 285750"/>
                <a:gd name="connsiteX2" fmla="*/ 212503 w 260032"/>
                <a:gd name="connsiteY2" fmla="*/ 78962 h 285750"/>
                <a:gd name="connsiteX3" fmla="*/ 131159 w 260032"/>
                <a:gd name="connsiteY3" fmla="*/ 157924 h 285750"/>
                <a:gd name="connsiteX4" fmla="*/ 50864 w 260032"/>
                <a:gd name="connsiteY4" fmla="*/ 78962 h 285750"/>
                <a:gd name="connsiteX5" fmla="*/ 50864 w 260032"/>
                <a:gd name="connsiteY5" fmla="*/ 78962 h 285750"/>
                <a:gd name="connsiteX6" fmla="*/ 260033 w 260032"/>
                <a:gd name="connsiteY6" fmla="*/ 285750 h 285750"/>
                <a:gd name="connsiteX7" fmla="*/ 130016 w 260032"/>
                <a:gd name="connsiteY7" fmla="*/ 157924 h 285750"/>
                <a:gd name="connsiteX8" fmla="*/ 0 w 260032"/>
                <a:gd name="connsiteY8"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32" h="285750">
                  <a:moveTo>
                    <a:pt x="50864" y="78962"/>
                  </a:moveTo>
                  <a:cubicBezTo>
                    <a:pt x="50864" y="35338"/>
                    <a:pt x="86773" y="0"/>
                    <a:pt x="131159" y="0"/>
                  </a:cubicBezTo>
                  <a:cubicBezTo>
                    <a:pt x="175546" y="0"/>
                    <a:pt x="212503" y="35338"/>
                    <a:pt x="212503" y="78962"/>
                  </a:cubicBezTo>
                  <a:cubicBezTo>
                    <a:pt x="212503" y="122587"/>
                    <a:pt x="175546" y="157924"/>
                    <a:pt x="131159" y="157924"/>
                  </a:cubicBezTo>
                  <a:cubicBezTo>
                    <a:pt x="86773" y="157924"/>
                    <a:pt x="50864" y="122587"/>
                    <a:pt x="50864" y="78962"/>
                  </a:cubicBezTo>
                  <a:lnTo>
                    <a:pt x="50864" y="78962"/>
                  </a:lnTo>
                  <a:close/>
                  <a:moveTo>
                    <a:pt x="260033" y="285750"/>
                  </a:moveTo>
                  <a:cubicBezTo>
                    <a:pt x="260033" y="215074"/>
                    <a:pt x="201930" y="157924"/>
                    <a:pt x="130016" y="157924"/>
                  </a:cubicBezTo>
                  <a:cubicBezTo>
                    <a:pt x="58103" y="157924"/>
                    <a:pt x="0" y="215074"/>
                    <a:pt x="0" y="285750"/>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 name="Freeform: Shape 32">
              <a:extLst>
                <a:ext uri="{FF2B5EF4-FFF2-40B4-BE49-F238E27FC236}">
                  <a16:creationId xmlns:a16="http://schemas.microsoft.com/office/drawing/2014/main" id="{EB5A98B5-82EC-46ED-8610-FC8919F4336A}"/>
                </a:ext>
              </a:extLst>
            </p:cNvPr>
            <p:cNvSpPr/>
            <p:nvPr/>
          </p:nvSpPr>
          <p:spPr>
            <a:xfrm>
              <a:off x="9924937" y="4470801"/>
              <a:ext cx="256006" cy="256006"/>
            </a:xfrm>
            <a:custGeom>
              <a:avLst/>
              <a:gdLst>
                <a:gd name="connsiteX0" fmla="*/ 479107 w 479107"/>
                <a:gd name="connsiteY0" fmla="*/ 239554 h 479107"/>
                <a:gd name="connsiteX1" fmla="*/ 239554 w 479107"/>
                <a:gd name="connsiteY1" fmla="*/ 479108 h 479107"/>
                <a:gd name="connsiteX2" fmla="*/ 0 w 479107"/>
                <a:gd name="connsiteY2" fmla="*/ 239554 h 479107"/>
                <a:gd name="connsiteX3" fmla="*/ 239554 w 479107"/>
                <a:gd name="connsiteY3" fmla="*/ 0 h 479107"/>
                <a:gd name="connsiteX4" fmla="*/ 479107 w 479107"/>
                <a:gd name="connsiteY4" fmla="*/ 239554 h 4791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07" h="479107">
                  <a:moveTo>
                    <a:pt x="479107" y="239554"/>
                  </a:moveTo>
                  <a:cubicBezTo>
                    <a:pt x="479107" y="371856"/>
                    <a:pt x="371856" y="479108"/>
                    <a:pt x="239554" y="479108"/>
                  </a:cubicBezTo>
                  <a:cubicBezTo>
                    <a:pt x="107252" y="479108"/>
                    <a:pt x="0" y="371856"/>
                    <a:pt x="0" y="239554"/>
                  </a:cubicBezTo>
                  <a:cubicBezTo>
                    <a:pt x="0" y="107252"/>
                    <a:pt x="107252" y="0"/>
                    <a:pt x="239554" y="0"/>
                  </a:cubicBezTo>
                  <a:cubicBezTo>
                    <a:pt x="371856" y="0"/>
                    <a:pt x="479107" y="107252"/>
                    <a:pt x="479107" y="239554"/>
                  </a:cubicBezTo>
                  <a:close/>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Shape 33">
              <a:extLst>
                <a:ext uri="{FF2B5EF4-FFF2-40B4-BE49-F238E27FC236}">
                  <a16:creationId xmlns:a16="http://schemas.microsoft.com/office/drawing/2014/main" id="{6F38DE84-CA26-4811-AF7A-2B778CCA2EF0}"/>
                </a:ext>
              </a:extLst>
            </p:cNvPr>
            <p:cNvSpPr/>
            <p:nvPr/>
          </p:nvSpPr>
          <p:spPr>
            <a:xfrm>
              <a:off x="10025711" y="4607711"/>
              <a:ext cx="54408" cy="25092"/>
            </a:xfrm>
            <a:custGeom>
              <a:avLst/>
              <a:gdLst>
                <a:gd name="connsiteX0" fmla="*/ 0 w 101822"/>
                <a:gd name="connsiteY0" fmla="*/ 0 h 46958"/>
                <a:gd name="connsiteX1" fmla="*/ 50959 w 101822"/>
                <a:gd name="connsiteY1" fmla="*/ 46958 h 46958"/>
                <a:gd name="connsiteX2" fmla="*/ 101822 w 101822"/>
                <a:gd name="connsiteY2" fmla="*/ 0 h 46958"/>
              </a:gdLst>
              <a:ahLst/>
              <a:cxnLst>
                <a:cxn ang="0">
                  <a:pos x="connsiteX0" y="connsiteY0"/>
                </a:cxn>
                <a:cxn ang="0">
                  <a:pos x="connsiteX1" y="connsiteY1"/>
                </a:cxn>
                <a:cxn ang="0">
                  <a:pos x="connsiteX2" y="connsiteY2"/>
                </a:cxn>
              </a:cxnLst>
              <a:rect l="l" t="t" r="r" b="b"/>
              <a:pathLst>
                <a:path w="101822" h="46958">
                  <a:moveTo>
                    <a:pt x="0" y="0"/>
                  </a:moveTo>
                  <a:lnTo>
                    <a:pt x="50959" y="46958"/>
                  </a:lnTo>
                  <a:lnTo>
                    <a:pt x="101822" y="0"/>
                  </a:ln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35" name="Graphic 3">
              <a:extLst>
                <a:ext uri="{FF2B5EF4-FFF2-40B4-BE49-F238E27FC236}">
                  <a16:creationId xmlns:a16="http://schemas.microsoft.com/office/drawing/2014/main" id="{1E5BE419-7208-4482-AE82-1BCD164085D3}"/>
                </a:ext>
              </a:extLst>
            </p:cNvPr>
            <p:cNvGrpSpPr/>
            <p:nvPr/>
          </p:nvGrpSpPr>
          <p:grpSpPr>
            <a:xfrm>
              <a:off x="9719165" y="4436395"/>
              <a:ext cx="241552" cy="54916"/>
              <a:chOff x="810599" y="3786070"/>
              <a:chExt cx="452056" cy="102774"/>
            </a:xfrm>
            <a:noFill/>
          </p:grpSpPr>
          <p:sp>
            <p:nvSpPr>
              <p:cNvPr id="39" name="Freeform: Shape 38">
                <a:extLst>
                  <a:ext uri="{FF2B5EF4-FFF2-40B4-BE49-F238E27FC236}">
                    <a16:creationId xmlns:a16="http://schemas.microsoft.com/office/drawing/2014/main" id="{4474BD0E-1D0A-40DA-A6C3-AC0145ECE136}"/>
                  </a:ext>
                </a:extLst>
              </p:cNvPr>
              <p:cNvSpPr/>
              <p:nvPr/>
            </p:nvSpPr>
            <p:spPr>
              <a:xfrm>
                <a:off x="810599" y="3786070"/>
                <a:ext cx="448627" cy="102774"/>
              </a:xfrm>
              <a:custGeom>
                <a:avLst/>
                <a:gdLst>
                  <a:gd name="connsiteX0" fmla="*/ 0 w 448627"/>
                  <a:gd name="connsiteY0" fmla="*/ 102775 h 102774"/>
                  <a:gd name="connsiteX1" fmla="*/ 245269 w 448627"/>
                  <a:gd name="connsiteY1" fmla="*/ 0 h 102774"/>
                  <a:gd name="connsiteX2" fmla="*/ 448628 w 448627"/>
                  <a:gd name="connsiteY2" fmla="*/ 66485 h 102774"/>
                </a:gdLst>
                <a:ahLst/>
                <a:cxnLst>
                  <a:cxn ang="0">
                    <a:pos x="connsiteX0" y="connsiteY0"/>
                  </a:cxn>
                  <a:cxn ang="0">
                    <a:pos x="connsiteX1" y="connsiteY1"/>
                  </a:cxn>
                  <a:cxn ang="0">
                    <a:pos x="connsiteX2" y="connsiteY2"/>
                  </a:cxn>
                </a:cxnLst>
                <a:rect l="l" t="t" r="r" b="b"/>
                <a:pathLst>
                  <a:path w="448627" h="102774">
                    <a:moveTo>
                      <a:pt x="0" y="102775"/>
                    </a:moveTo>
                    <a:cubicBezTo>
                      <a:pt x="62389" y="39338"/>
                      <a:pt x="149257" y="0"/>
                      <a:pt x="245269" y="0"/>
                    </a:cubicBezTo>
                    <a:cubicBezTo>
                      <a:pt x="321373" y="0"/>
                      <a:pt x="391668" y="24670"/>
                      <a:pt x="448628" y="66485"/>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0" name="Freeform: Shape 39">
                <a:extLst>
                  <a:ext uri="{FF2B5EF4-FFF2-40B4-BE49-F238E27FC236}">
                    <a16:creationId xmlns:a16="http://schemas.microsoft.com/office/drawing/2014/main" id="{0D64B6A3-0259-4FEC-B983-10FC75BA7352}"/>
                  </a:ext>
                </a:extLst>
              </p:cNvPr>
              <p:cNvSpPr/>
              <p:nvPr/>
            </p:nvSpPr>
            <p:spPr>
              <a:xfrm>
                <a:off x="1214840" y="3804644"/>
                <a:ext cx="47815" cy="69722"/>
              </a:xfrm>
              <a:custGeom>
                <a:avLst/>
                <a:gdLst>
                  <a:gd name="connsiteX0" fmla="*/ 44005 w 47815"/>
                  <a:gd name="connsiteY0" fmla="*/ 0 h 69722"/>
                  <a:gd name="connsiteX1" fmla="*/ 47815 w 47815"/>
                  <a:gd name="connsiteY1" fmla="*/ 51054 h 69722"/>
                  <a:gd name="connsiteX2" fmla="*/ 0 w 47815"/>
                  <a:gd name="connsiteY2" fmla="*/ 69723 h 69722"/>
                </a:gdLst>
                <a:ahLst/>
                <a:cxnLst>
                  <a:cxn ang="0">
                    <a:pos x="connsiteX0" y="connsiteY0"/>
                  </a:cxn>
                  <a:cxn ang="0">
                    <a:pos x="connsiteX1" y="connsiteY1"/>
                  </a:cxn>
                  <a:cxn ang="0">
                    <a:pos x="connsiteX2" y="connsiteY2"/>
                  </a:cxn>
                </a:cxnLst>
                <a:rect l="l" t="t" r="r" b="b"/>
                <a:pathLst>
                  <a:path w="47815" h="69722">
                    <a:moveTo>
                      <a:pt x="44005" y="0"/>
                    </a:moveTo>
                    <a:lnTo>
                      <a:pt x="47815" y="51054"/>
                    </a:lnTo>
                    <a:lnTo>
                      <a:pt x="0" y="69723"/>
                    </a:ln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aphic 3">
              <a:extLst>
                <a:ext uri="{FF2B5EF4-FFF2-40B4-BE49-F238E27FC236}">
                  <a16:creationId xmlns:a16="http://schemas.microsoft.com/office/drawing/2014/main" id="{BF11FAC6-483E-4562-B50A-189ED747C5A7}"/>
                </a:ext>
              </a:extLst>
            </p:cNvPr>
            <p:cNvGrpSpPr/>
            <p:nvPr/>
          </p:nvGrpSpPr>
          <p:grpSpPr>
            <a:xfrm>
              <a:off x="9726036" y="4698153"/>
              <a:ext cx="241552" cy="57308"/>
              <a:chOff x="823458" y="4275941"/>
              <a:chExt cx="452056" cy="107251"/>
            </a:xfrm>
            <a:noFill/>
          </p:grpSpPr>
          <p:sp>
            <p:nvSpPr>
              <p:cNvPr id="37" name="Freeform: Shape 36">
                <a:extLst>
                  <a:ext uri="{FF2B5EF4-FFF2-40B4-BE49-F238E27FC236}">
                    <a16:creationId xmlns:a16="http://schemas.microsoft.com/office/drawing/2014/main" id="{A7AE4B84-9BFE-4FA2-A00F-7949E01E50B4}"/>
                  </a:ext>
                </a:extLst>
              </p:cNvPr>
              <p:cNvSpPr/>
              <p:nvPr/>
            </p:nvSpPr>
            <p:spPr>
              <a:xfrm>
                <a:off x="826982" y="4275941"/>
                <a:ext cx="448532" cy="107251"/>
              </a:xfrm>
              <a:custGeom>
                <a:avLst/>
                <a:gdLst>
                  <a:gd name="connsiteX0" fmla="*/ 448532 w 448532"/>
                  <a:gd name="connsiteY0" fmla="*/ 0 h 107251"/>
                  <a:gd name="connsiteX1" fmla="*/ 203359 w 448532"/>
                  <a:gd name="connsiteY1" fmla="*/ 107252 h 107251"/>
                  <a:gd name="connsiteX2" fmla="*/ 0 w 448532"/>
                  <a:gd name="connsiteY2" fmla="*/ 37909 h 107251"/>
                </a:gdLst>
                <a:ahLst/>
                <a:cxnLst>
                  <a:cxn ang="0">
                    <a:pos x="connsiteX0" y="connsiteY0"/>
                  </a:cxn>
                  <a:cxn ang="0">
                    <a:pos x="connsiteX1" y="connsiteY1"/>
                  </a:cxn>
                  <a:cxn ang="0">
                    <a:pos x="connsiteX2" y="connsiteY2"/>
                  </a:cxn>
                </a:cxnLst>
                <a:rect l="l" t="t" r="r" b="b"/>
                <a:pathLst>
                  <a:path w="448532" h="107251">
                    <a:moveTo>
                      <a:pt x="448532" y="0"/>
                    </a:moveTo>
                    <a:cubicBezTo>
                      <a:pt x="386144" y="66199"/>
                      <a:pt x="299371" y="107252"/>
                      <a:pt x="203359" y="107252"/>
                    </a:cubicBezTo>
                    <a:cubicBezTo>
                      <a:pt x="127254" y="107252"/>
                      <a:pt x="56959" y="81534"/>
                      <a:pt x="0" y="37909"/>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Shape 37">
                <a:extLst>
                  <a:ext uri="{FF2B5EF4-FFF2-40B4-BE49-F238E27FC236}">
                    <a16:creationId xmlns:a16="http://schemas.microsoft.com/office/drawing/2014/main" id="{C88C81A7-579F-437C-841B-F743AE850169}"/>
                  </a:ext>
                </a:extLst>
              </p:cNvPr>
              <p:cNvSpPr/>
              <p:nvPr/>
            </p:nvSpPr>
            <p:spPr>
              <a:xfrm>
                <a:off x="823458" y="4291086"/>
                <a:ext cx="47815" cy="72770"/>
              </a:xfrm>
              <a:custGeom>
                <a:avLst/>
                <a:gdLst>
                  <a:gd name="connsiteX0" fmla="*/ 3905 w 47815"/>
                  <a:gd name="connsiteY0" fmla="*/ 72771 h 72770"/>
                  <a:gd name="connsiteX1" fmla="*/ 0 w 47815"/>
                  <a:gd name="connsiteY1" fmla="*/ 19431 h 72770"/>
                  <a:gd name="connsiteX2" fmla="*/ 47816 w 47815"/>
                  <a:gd name="connsiteY2" fmla="*/ 0 h 72770"/>
                </a:gdLst>
                <a:ahLst/>
                <a:cxnLst>
                  <a:cxn ang="0">
                    <a:pos x="connsiteX0" y="connsiteY0"/>
                  </a:cxn>
                  <a:cxn ang="0">
                    <a:pos x="connsiteX1" y="connsiteY1"/>
                  </a:cxn>
                  <a:cxn ang="0">
                    <a:pos x="connsiteX2" y="connsiteY2"/>
                  </a:cxn>
                </a:cxnLst>
                <a:rect l="l" t="t" r="r" b="b"/>
                <a:pathLst>
                  <a:path w="47815" h="72770">
                    <a:moveTo>
                      <a:pt x="3905" y="72771"/>
                    </a:moveTo>
                    <a:lnTo>
                      <a:pt x="0" y="19431"/>
                    </a:lnTo>
                    <a:lnTo>
                      <a:pt x="47816" y="0"/>
                    </a:ln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sp>
        <p:nvSpPr>
          <p:cNvPr id="63" name="Rectangle 62">
            <a:extLst>
              <a:ext uri="{FF2B5EF4-FFF2-40B4-BE49-F238E27FC236}">
                <a16:creationId xmlns:a16="http://schemas.microsoft.com/office/drawing/2014/main" id="{AB71F78B-BE23-44EA-83D5-20A1C5AF03E6}"/>
              </a:ext>
            </a:extLst>
          </p:cNvPr>
          <p:cNvSpPr>
            <a:spLocks/>
          </p:cNvSpPr>
          <p:nvPr/>
        </p:nvSpPr>
        <p:spPr bwMode="auto">
          <a:xfrm>
            <a:off x="4363708" y="5588206"/>
            <a:ext cx="3422070" cy="430887"/>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spcBef>
                <a:spcPct val="0"/>
              </a:spcBef>
              <a:spcAft>
                <a:spcPct val="0"/>
              </a:spcAft>
              <a:defRPr/>
            </a:pPr>
            <a:r>
              <a:rPr lang="en-US" sz="1400" kern="0">
                <a:ea typeface="Segoe UI" pitchFamily="34" charset="0"/>
                <a:cs typeface="Segoe UI" pitchFamily="34" charset="0"/>
              </a:rPr>
              <a:t>All users are aware of Viva Learning, its value, and how to use it</a:t>
            </a:r>
          </a:p>
        </p:txBody>
      </p:sp>
      <p:sp>
        <p:nvSpPr>
          <p:cNvPr id="65" name="Rectangle 64">
            <a:extLst>
              <a:ext uri="{FF2B5EF4-FFF2-40B4-BE49-F238E27FC236}">
                <a16:creationId xmlns:a16="http://schemas.microsoft.com/office/drawing/2014/main" id="{D05B1B9B-D54F-45AD-BF59-73EFD8CFD7CE}"/>
              </a:ext>
            </a:extLst>
          </p:cNvPr>
          <p:cNvSpPr/>
          <p:nvPr/>
        </p:nvSpPr>
        <p:spPr bwMode="auto">
          <a:xfrm>
            <a:off x="5251782" y="5069893"/>
            <a:ext cx="1645920" cy="276999"/>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spcBef>
                <a:spcPct val="0"/>
              </a:spcBef>
              <a:spcAft>
                <a:spcPts val="600"/>
              </a:spcAft>
              <a:defRPr/>
            </a:pPr>
            <a:r>
              <a:rPr lang="en-US" kern="0">
                <a:solidFill>
                  <a:schemeClr val="accent1"/>
                </a:solidFill>
                <a:latin typeface="+mj-lt"/>
                <a:ea typeface="Segoe UI" pitchFamily="34" charset="0"/>
                <a:cs typeface="Segoe UI Semibold" panose="020B0702040204020203" pitchFamily="34" charset="0"/>
              </a:rPr>
              <a:t>Awareness</a:t>
            </a:r>
          </a:p>
        </p:txBody>
      </p:sp>
      <p:sp>
        <p:nvSpPr>
          <p:cNvPr id="60" name="Oval 59">
            <a:extLst>
              <a:ext uri="{FF2B5EF4-FFF2-40B4-BE49-F238E27FC236}">
                <a16:creationId xmlns:a16="http://schemas.microsoft.com/office/drawing/2014/main" id="{0E544712-B141-47B0-B18A-E12285A31746}"/>
              </a:ext>
            </a:extLst>
          </p:cNvPr>
          <p:cNvSpPr/>
          <p:nvPr/>
        </p:nvSpPr>
        <p:spPr bwMode="auto">
          <a:xfrm>
            <a:off x="5848237" y="4568509"/>
            <a:ext cx="457386" cy="457384"/>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2" name="Move_E7C2" title="Icon of four arrows pointing away from eachother">
            <a:extLst>
              <a:ext uri="{FF2B5EF4-FFF2-40B4-BE49-F238E27FC236}">
                <a16:creationId xmlns:a16="http://schemas.microsoft.com/office/drawing/2014/main" id="{F1036995-A8FE-4C2C-B939-87177270AA30}"/>
              </a:ext>
            </a:extLst>
          </p:cNvPr>
          <p:cNvSpPr>
            <a:spLocks noChangeAspect="1" noEditPoints="1"/>
          </p:cNvSpPr>
          <p:nvPr/>
        </p:nvSpPr>
        <p:spPr bwMode="auto">
          <a:xfrm>
            <a:off x="5946283" y="4666522"/>
            <a:ext cx="261293" cy="261357"/>
          </a:xfrm>
          <a:custGeom>
            <a:avLst/>
            <a:gdLst>
              <a:gd name="T0" fmla="*/ 736 w 3999"/>
              <a:gd name="T1" fmla="*/ 2737 h 4000"/>
              <a:gd name="T2" fmla="*/ 0 w 3999"/>
              <a:gd name="T3" fmla="*/ 2001 h 4000"/>
              <a:gd name="T4" fmla="*/ 736 w 3999"/>
              <a:gd name="T5" fmla="*/ 1264 h 4000"/>
              <a:gd name="T6" fmla="*/ 86 w 3999"/>
              <a:gd name="T7" fmla="*/ 2001 h 4000"/>
              <a:gd name="T8" fmla="*/ 1264 w 3999"/>
              <a:gd name="T9" fmla="*/ 2001 h 4000"/>
              <a:gd name="T10" fmla="*/ 1264 w 3999"/>
              <a:gd name="T11" fmla="*/ 3265 h 4000"/>
              <a:gd name="T12" fmla="*/ 2000 w 3999"/>
              <a:gd name="T13" fmla="*/ 4000 h 4000"/>
              <a:gd name="T14" fmla="*/ 2735 w 3999"/>
              <a:gd name="T15" fmla="*/ 3265 h 4000"/>
              <a:gd name="T16" fmla="*/ 2000 w 3999"/>
              <a:gd name="T17" fmla="*/ 3915 h 4000"/>
              <a:gd name="T18" fmla="*/ 2000 w 3999"/>
              <a:gd name="T19" fmla="*/ 2737 h 4000"/>
              <a:gd name="T20" fmla="*/ 3264 w 3999"/>
              <a:gd name="T21" fmla="*/ 2737 h 4000"/>
              <a:gd name="T22" fmla="*/ 3999 w 3999"/>
              <a:gd name="T23" fmla="*/ 2001 h 4000"/>
              <a:gd name="T24" fmla="*/ 3264 w 3999"/>
              <a:gd name="T25" fmla="*/ 1264 h 4000"/>
              <a:gd name="T26" fmla="*/ 3913 w 3999"/>
              <a:gd name="T27" fmla="*/ 2001 h 4000"/>
              <a:gd name="T28" fmla="*/ 2735 w 3999"/>
              <a:gd name="T29" fmla="*/ 2001 h 4000"/>
              <a:gd name="T30" fmla="*/ 2735 w 3999"/>
              <a:gd name="T31" fmla="*/ 736 h 4000"/>
              <a:gd name="T32" fmla="*/ 2000 w 3999"/>
              <a:gd name="T33" fmla="*/ 0 h 4000"/>
              <a:gd name="T34" fmla="*/ 1264 w 3999"/>
              <a:gd name="T35" fmla="*/ 736 h 4000"/>
              <a:gd name="T36" fmla="*/ 2000 w 3999"/>
              <a:gd name="T37" fmla="*/ 86 h 4000"/>
              <a:gd name="T38" fmla="*/ 2000 w 3999"/>
              <a:gd name="T39" fmla="*/ 1264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99" h="4000">
                <a:moveTo>
                  <a:pt x="736" y="2737"/>
                </a:moveTo>
                <a:lnTo>
                  <a:pt x="0" y="2001"/>
                </a:lnTo>
                <a:lnTo>
                  <a:pt x="736" y="1264"/>
                </a:lnTo>
                <a:moveTo>
                  <a:pt x="86" y="2001"/>
                </a:moveTo>
                <a:lnTo>
                  <a:pt x="1264" y="2001"/>
                </a:lnTo>
                <a:moveTo>
                  <a:pt x="1264" y="3265"/>
                </a:moveTo>
                <a:lnTo>
                  <a:pt x="2000" y="4000"/>
                </a:lnTo>
                <a:lnTo>
                  <a:pt x="2735" y="3265"/>
                </a:lnTo>
                <a:moveTo>
                  <a:pt x="2000" y="3915"/>
                </a:moveTo>
                <a:lnTo>
                  <a:pt x="2000" y="2737"/>
                </a:lnTo>
                <a:moveTo>
                  <a:pt x="3264" y="2737"/>
                </a:moveTo>
                <a:lnTo>
                  <a:pt x="3999" y="2001"/>
                </a:lnTo>
                <a:lnTo>
                  <a:pt x="3264" y="1264"/>
                </a:lnTo>
                <a:moveTo>
                  <a:pt x="3913" y="2001"/>
                </a:moveTo>
                <a:lnTo>
                  <a:pt x="2735" y="2001"/>
                </a:lnTo>
                <a:moveTo>
                  <a:pt x="2735" y="736"/>
                </a:moveTo>
                <a:lnTo>
                  <a:pt x="2000" y="0"/>
                </a:lnTo>
                <a:lnTo>
                  <a:pt x="1264" y="736"/>
                </a:lnTo>
                <a:moveTo>
                  <a:pt x="2000" y="86"/>
                </a:moveTo>
                <a:lnTo>
                  <a:pt x="2000" y="1264"/>
                </a:ln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 name="Rectangle 50">
            <a:extLst>
              <a:ext uri="{FF2B5EF4-FFF2-40B4-BE49-F238E27FC236}">
                <a16:creationId xmlns:a16="http://schemas.microsoft.com/office/drawing/2014/main" id="{AFF6C064-5048-41E6-8AC3-AAC255976415}"/>
              </a:ext>
            </a:extLst>
          </p:cNvPr>
          <p:cNvSpPr>
            <a:spLocks/>
          </p:cNvSpPr>
          <p:nvPr/>
        </p:nvSpPr>
        <p:spPr bwMode="auto">
          <a:xfrm>
            <a:off x="588964" y="5588206"/>
            <a:ext cx="3422070" cy="430887"/>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spcBef>
                <a:spcPct val="0"/>
              </a:spcBef>
              <a:spcAft>
                <a:spcPct val="0"/>
              </a:spcAft>
              <a:defRPr/>
            </a:pPr>
            <a:r>
              <a:rPr lang="en-US" sz="1400" kern="0">
                <a:ea typeface="Segoe UI" pitchFamily="34" charset="0"/>
                <a:cs typeface="Segoe UI" pitchFamily="34" charset="0"/>
              </a:rPr>
              <a:t>A clear vision for how to use Viva Learning and proactive senior leadership support</a:t>
            </a:r>
          </a:p>
        </p:txBody>
      </p:sp>
      <p:sp>
        <p:nvSpPr>
          <p:cNvPr id="53" name="Rectangle 52">
            <a:extLst>
              <a:ext uri="{FF2B5EF4-FFF2-40B4-BE49-F238E27FC236}">
                <a16:creationId xmlns:a16="http://schemas.microsoft.com/office/drawing/2014/main" id="{F1CE88E9-210F-4234-B0DF-F5CBEB8C0AA8}"/>
              </a:ext>
            </a:extLst>
          </p:cNvPr>
          <p:cNvSpPr/>
          <p:nvPr/>
        </p:nvSpPr>
        <p:spPr bwMode="auto">
          <a:xfrm>
            <a:off x="1477039" y="5069893"/>
            <a:ext cx="1645920" cy="276999"/>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472" fontAlgn="base">
              <a:spcBef>
                <a:spcPct val="0"/>
              </a:spcBef>
              <a:spcAft>
                <a:spcPts val="600"/>
              </a:spcAft>
              <a:defRPr/>
            </a:pPr>
            <a:r>
              <a:rPr lang="en-US" kern="0">
                <a:solidFill>
                  <a:schemeClr val="accent1"/>
                </a:solidFill>
                <a:latin typeface="+mj-lt"/>
                <a:ea typeface="Segoe UI" pitchFamily="34" charset="0"/>
                <a:cs typeface="Segoe UI Semibold" panose="020B0702040204020203" pitchFamily="34" charset="0"/>
              </a:rPr>
              <a:t>Alignment</a:t>
            </a:r>
          </a:p>
        </p:txBody>
      </p:sp>
      <p:sp>
        <p:nvSpPr>
          <p:cNvPr id="20" name="Oval 19">
            <a:extLst>
              <a:ext uri="{FF2B5EF4-FFF2-40B4-BE49-F238E27FC236}">
                <a16:creationId xmlns:a16="http://schemas.microsoft.com/office/drawing/2014/main" id="{B66B0CAA-0D38-4B21-9988-74420CD08411}"/>
              </a:ext>
            </a:extLst>
          </p:cNvPr>
          <p:cNvSpPr/>
          <p:nvPr/>
        </p:nvSpPr>
        <p:spPr bwMode="auto">
          <a:xfrm>
            <a:off x="2082687" y="4568509"/>
            <a:ext cx="457386" cy="457384"/>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3" name="arrow_11" title="Icon of a circle made of two curved arrows">
            <a:extLst>
              <a:ext uri="{FF2B5EF4-FFF2-40B4-BE49-F238E27FC236}">
                <a16:creationId xmlns:a16="http://schemas.microsoft.com/office/drawing/2014/main" id="{BC603249-CD90-43E3-A44E-474B4E736349}"/>
              </a:ext>
            </a:extLst>
          </p:cNvPr>
          <p:cNvSpPr>
            <a:spLocks noChangeAspect="1" noEditPoints="1"/>
          </p:cNvSpPr>
          <p:nvPr/>
        </p:nvSpPr>
        <p:spPr bwMode="auto">
          <a:xfrm>
            <a:off x="2186286" y="4666522"/>
            <a:ext cx="250189" cy="261357"/>
          </a:xfrm>
          <a:custGeom>
            <a:avLst/>
            <a:gdLst>
              <a:gd name="T0" fmla="*/ 310 w 310"/>
              <a:gd name="T1" fmla="*/ 199 h 322"/>
              <a:gd name="T2" fmla="*/ 154 w 310"/>
              <a:gd name="T3" fmla="*/ 322 h 322"/>
              <a:gd name="T4" fmla="*/ 1 w 310"/>
              <a:gd name="T5" fmla="*/ 211 h 322"/>
              <a:gd name="T6" fmla="*/ 304 w 310"/>
              <a:gd name="T7" fmla="*/ 104 h 322"/>
              <a:gd name="T8" fmla="*/ 154 w 310"/>
              <a:gd name="T9" fmla="*/ 0 h 322"/>
              <a:gd name="T10" fmla="*/ 0 w 310"/>
              <a:gd name="T11" fmla="*/ 114 h 322"/>
              <a:gd name="T12" fmla="*/ 299 w 310"/>
              <a:gd name="T13" fmla="*/ 104 h 322"/>
              <a:gd name="T14" fmla="*/ 230 w 310"/>
              <a:gd name="T15" fmla="*/ 104 h 322"/>
              <a:gd name="T16" fmla="*/ 295 w 310"/>
              <a:gd name="T17" fmla="*/ 104 h 322"/>
              <a:gd name="T18" fmla="*/ 304 w 310"/>
              <a:gd name="T19" fmla="*/ 104 h 322"/>
              <a:gd name="T20" fmla="*/ 304 w 310"/>
              <a:gd name="T21" fmla="*/ 29 h 322"/>
              <a:gd name="T22" fmla="*/ 9 w 310"/>
              <a:gd name="T23" fmla="*/ 211 h 322"/>
              <a:gd name="T24" fmla="*/ 75 w 310"/>
              <a:gd name="T25" fmla="*/ 211 h 322"/>
              <a:gd name="T26" fmla="*/ 9 w 310"/>
              <a:gd name="T27" fmla="*/ 211 h 322"/>
              <a:gd name="T28" fmla="*/ 1 w 310"/>
              <a:gd name="T29" fmla="*/ 211 h 322"/>
              <a:gd name="T30" fmla="*/ 1 w 310"/>
              <a:gd name="T31" fmla="*/ 28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0" h="322">
                <a:moveTo>
                  <a:pt x="310" y="199"/>
                </a:moveTo>
                <a:cubicBezTo>
                  <a:pt x="293" y="270"/>
                  <a:pt x="229" y="322"/>
                  <a:pt x="154" y="322"/>
                </a:cubicBezTo>
                <a:cubicBezTo>
                  <a:pt x="83" y="322"/>
                  <a:pt x="22" y="275"/>
                  <a:pt x="1" y="211"/>
                </a:cubicBezTo>
                <a:moveTo>
                  <a:pt x="304" y="104"/>
                </a:moveTo>
                <a:cubicBezTo>
                  <a:pt x="281" y="43"/>
                  <a:pt x="223" y="0"/>
                  <a:pt x="154" y="0"/>
                </a:cubicBezTo>
                <a:cubicBezTo>
                  <a:pt x="82" y="0"/>
                  <a:pt x="20" y="48"/>
                  <a:pt x="0" y="114"/>
                </a:cubicBezTo>
                <a:moveTo>
                  <a:pt x="299" y="104"/>
                </a:moveTo>
                <a:cubicBezTo>
                  <a:pt x="230" y="104"/>
                  <a:pt x="230" y="104"/>
                  <a:pt x="230" y="104"/>
                </a:cubicBezTo>
                <a:moveTo>
                  <a:pt x="295" y="104"/>
                </a:moveTo>
                <a:cubicBezTo>
                  <a:pt x="304" y="104"/>
                  <a:pt x="304" y="104"/>
                  <a:pt x="304" y="104"/>
                </a:cubicBezTo>
                <a:cubicBezTo>
                  <a:pt x="304" y="29"/>
                  <a:pt x="304" y="29"/>
                  <a:pt x="304" y="29"/>
                </a:cubicBezTo>
                <a:moveTo>
                  <a:pt x="9" y="211"/>
                </a:moveTo>
                <a:cubicBezTo>
                  <a:pt x="75" y="211"/>
                  <a:pt x="75" y="211"/>
                  <a:pt x="75" y="211"/>
                </a:cubicBezTo>
                <a:moveTo>
                  <a:pt x="9" y="211"/>
                </a:moveTo>
                <a:cubicBezTo>
                  <a:pt x="1" y="211"/>
                  <a:pt x="1" y="211"/>
                  <a:pt x="1" y="211"/>
                </a:cubicBezTo>
                <a:cubicBezTo>
                  <a:pt x="1" y="286"/>
                  <a:pt x="1" y="286"/>
                  <a:pt x="1" y="286"/>
                </a:cubicBezTo>
              </a:path>
            </a:pathLst>
          </a:custGeom>
          <a:noFill/>
          <a:ln w="12700" cap="rnd">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5" name="Straight Connector 14">
            <a:extLst>
              <a:ext uri="{FF2B5EF4-FFF2-40B4-BE49-F238E27FC236}">
                <a16:creationId xmlns:a16="http://schemas.microsoft.com/office/drawing/2014/main" id="{4FD9ECFA-FD52-4900-ABD3-1A40040E3591}"/>
              </a:ext>
            </a:extLst>
          </p:cNvPr>
          <p:cNvCxnSpPr/>
          <p:nvPr/>
        </p:nvCxnSpPr>
        <p:spPr>
          <a:xfrm flipH="1" flipV="1">
            <a:off x="4187371" y="5453698"/>
            <a:ext cx="0" cy="822960"/>
          </a:xfrm>
          <a:prstGeom prst="line">
            <a:avLst/>
          </a:prstGeom>
          <a:ln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662BCE5-9A23-42CA-9368-8E30B8C84C76}"/>
              </a:ext>
            </a:extLst>
          </p:cNvPr>
          <p:cNvCxnSpPr/>
          <p:nvPr/>
        </p:nvCxnSpPr>
        <p:spPr>
          <a:xfrm flipH="1" flipV="1">
            <a:off x="4187371" y="5994322"/>
            <a:ext cx="0" cy="281940"/>
          </a:xfrm>
          <a:prstGeom prst="line">
            <a:avLst/>
          </a:prstGeom>
          <a:ln w="19050" cap="rnd">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B2A24E7-5EDF-4B2F-AE6E-EAD4EFF62972}"/>
              </a:ext>
            </a:extLst>
          </p:cNvPr>
          <p:cNvCxnSpPr/>
          <p:nvPr/>
        </p:nvCxnSpPr>
        <p:spPr>
          <a:xfrm flipH="1" flipV="1">
            <a:off x="7962114" y="5453698"/>
            <a:ext cx="0" cy="822960"/>
          </a:xfrm>
          <a:prstGeom prst="line">
            <a:avLst/>
          </a:prstGeom>
          <a:ln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AF4E77F-36D5-401E-B6F5-3579F9D2F776}"/>
              </a:ext>
            </a:extLst>
          </p:cNvPr>
          <p:cNvCxnSpPr/>
          <p:nvPr/>
        </p:nvCxnSpPr>
        <p:spPr>
          <a:xfrm flipH="1" flipV="1">
            <a:off x="7962114" y="5994322"/>
            <a:ext cx="0" cy="281940"/>
          </a:xfrm>
          <a:prstGeom prst="line">
            <a:avLst/>
          </a:prstGeom>
          <a:ln w="19050" cap="rnd">
            <a:solidFill>
              <a:schemeClr val="accent1"/>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4" name="Rectangle: Top Corners Rounded 63">
            <a:extLst>
              <a:ext uri="{FF2B5EF4-FFF2-40B4-BE49-F238E27FC236}">
                <a16:creationId xmlns:a16="http://schemas.microsoft.com/office/drawing/2014/main" id="{93C9FB62-C2BA-4DD5-A8E9-1829A8AB9BF9}"/>
              </a:ext>
            </a:extLst>
          </p:cNvPr>
          <p:cNvSpPr/>
          <p:nvPr/>
        </p:nvSpPr>
        <p:spPr bwMode="auto">
          <a:xfrm rot="10800000">
            <a:off x="1213335" y="5385621"/>
            <a:ext cx="2173330" cy="27432"/>
          </a:xfrm>
          <a:prstGeom prst="round2SameRect">
            <a:avLst>
              <a:gd name="adj1" fmla="val 0"/>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cs typeface="Segoe UI" pitchFamily="34" charset="0"/>
            </a:endParaRPr>
          </a:p>
        </p:txBody>
      </p:sp>
      <p:sp>
        <p:nvSpPr>
          <p:cNvPr id="66" name="Rectangle: Top Corners Rounded 65">
            <a:extLst>
              <a:ext uri="{FF2B5EF4-FFF2-40B4-BE49-F238E27FC236}">
                <a16:creationId xmlns:a16="http://schemas.microsoft.com/office/drawing/2014/main" id="{B171BF82-D552-498E-B3FE-04EC8340ED05}"/>
              </a:ext>
            </a:extLst>
          </p:cNvPr>
          <p:cNvSpPr/>
          <p:nvPr/>
        </p:nvSpPr>
        <p:spPr bwMode="auto">
          <a:xfrm rot="10800000">
            <a:off x="4988079" y="5385621"/>
            <a:ext cx="2173330" cy="27432"/>
          </a:xfrm>
          <a:prstGeom prst="round2SameRect">
            <a:avLst>
              <a:gd name="adj1" fmla="val 0"/>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cs typeface="Segoe UI" pitchFamily="34" charset="0"/>
            </a:endParaRPr>
          </a:p>
        </p:txBody>
      </p:sp>
      <p:sp>
        <p:nvSpPr>
          <p:cNvPr id="68" name="Rectangle: Top Corners Rounded 67">
            <a:extLst>
              <a:ext uri="{FF2B5EF4-FFF2-40B4-BE49-F238E27FC236}">
                <a16:creationId xmlns:a16="http://schemas.microsoft.com/office/drawing/2014/main" id="{F8FA9B5E-BA3F-4F51-99A3-C9BE4A1E97E5}"/>
              </a:ext>
            </a:extLst>
          </p:cNvPr>
          <p:cNvSpPr/>
          <p:nvPr/>
        </p:nvSpPr>
        <p:spPr bwMode="auto">
          <a:xfrm rot="10800000">
            <a:off x="8762820" y="5385621"/>
            <a:ext cx="2173330" cy="27432"/>
          </a:xfrm>
          <a:prstGeom prst="round2SameRect">
            <a:avLst>
              <a:gd name="adj1" fmla="val 0"/>
              <a:gd name="adj2"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2000">
              <a:solidFill>
                <a:schemeClr val="bg1"/>
              </a:solidFill>
              <a:latin typeface="+mj-lt"/>
              <a:cs typeface="Segoe UI" pitchFamily="34" charset="0"/>
            </a:endParaRPr>
          </a:p>
        </p:txBody>
      </p:sp>
    </p:spTree>
    <p:extLst>
      <p:ext uri="{BB962C8B-B14F-4D97-AF65-F5344CB8AC3E}">
        <p14:creationId xmlns:p14="http://schemas.microsoft.com/office/powerpoint/2010/main" val="2557103926"/>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3031B606-545E-4753-AC22-36E3DC5C6641}"/>
              </a:ext>
            </a:extLst>
          </p:cNvPr>
          <p:cNvSpPr>
            <a:spLocks/>
          </p:cNvSpPr>
          <p:nvPr/>
        </p:nvSpPr>
        <p:spPr>
          <a:xfrm>
            <a:off x="1138544" y="1883509"/>
            <a:ext cx="6217614" cy="2162130"/>
          </a:xfrm>
          <a:prstGeom prst="rect">
            <a:avLst/>
          </a:prstGeom>
        </p:spPr>
        <p:txBody>
          <a:bodyPr wrap="square" lIns="0" tIns="0" rIns="0" bIns="0">
            <a:spAutoFit/>
          </a:bodyPr>
          <a:lstStyle/>
          <a:p>
            <a:pPr marL="0" marR="0" lvl="1" indent="0" algn="l" defTabSz="896181" rtl="0" eaLnBrk="1" fontAlgn="auto" latinLnBrk="0" hangingPunct="1">
              <a:lnSpc>
                <a:spcPct val="100000"/>
              </a:lnSpc>
              <a:spcBef>
                <a:spcPts val="0"/>
              </a:spcBef>
              <a:spcAft>
                <a:spcPts val="300"/>
              </a:spcAft>
              <a:buClrTx/>
              <a:buSzPct val="90000"/>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Drive a new learning culture</a:t>
            </a: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lign stakeholders (HR, L&amp;D, and IT) on learning</a:t>
            </a:r>
            <a:r>
              <a:rPr lang="en-US" sz="1300">
                <a:solidFill>
                  <a:srgbClr val="000000"/>
                </a:solidFill>
                <a:latin typeface="Segoe UI"/>
                <a:cs typeface="Segoe UI" panose="020B0502040204020203" pitchFamily="34" charset="0"/>
              </a:rPr>
              <a:t> adoption efforts. All three departments should be dedicated to driving learning at your organization.</a:t>
            </a:r>
            <a:endPar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Train leaders and managers on learning in the flow: shift attitude from learning being only for required trainings and a separate event to being part of the regular work day and for learning new skills in addition to just required trainings</a:t>
            </a: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Facilitate pilot rollout and “missions” to spread adoption</a:t>
            </a: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endPar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endPar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6" name="Rectangle: Rounded Corners 5">
            <a:extLst>
              <a:ext uri="{FF2B5EF4-FFF2-40B4-BE49-F238E27FC236}">
                <a16:creationId xmlns:a16="http://schemas.microsoft.com/office/drawing/2014/main" id="{23132809-7134-40E9-9559-61DE3F4B935C}"/>
              </a:ext>
            </a:extLst>
          </p:cNvPr>
          <p:cNvSpPr/>
          <p:nvPr/>
        </p:nvSpPr>
        <p:spPr bwMode="auto">
          <a:xfrm>
            <a:off x="7694603" y="1498024"/>
            <a:ext cx="5749703" cy="4333858"/>
          </a:xfrm>
          <a:prstGeom prst="roundRect">
            <a:avLst>
              <a:gd name="adj" fmla="val 5898"/>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E645F860-BA2F-4864-990B-54223D196D48}"/>
              </a:ext>
            </a:extLst>
          </p:cNvPr>
          <p:cNvSpPr/>
          <p:nvPr/>
        </p:nvSpPr>
        <p:spPr bwMode="auto">
          <a:xfrm>
            <a:off x="0" y="1498024"/>
            <a:ext cx="800099" cy="45508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 name="Title 3">
            <a:extLst>
              <a:ext uri="{FF2B5EF4-FFF2-40B4-BE49-F238E27FC236}">
                <a16:creationId xmlns:a16="http://schemas.microsoft.com/office/drawing/2014/main" id="{3600DED2-9D95-4BC4-86B0-02513036FF3C}"/>
              </a:ext>
            </a:extLst>
          </p:cNvPr>
          <p:cNvSpPr>
            <a:spLocks noGrp="1"/>
          </p:cNvSpPr>
          <p:nvPr>
            <p:ph type="title"/>
          </p:nvPr>
        </p:nvSpPr>
        <p:spPr>
          <a:xfrm>
            <a:off x="588263" y="457200"/>
            <a:ext cx="11018520" cy="553998"/>
          </a:xfrm>
        </p:spPr>
        <p:txBody>
          <a:bodyPr/>
          <a:lstStyle/>
          <a:p>
            <a:r>
              <a:rPr lang="en-US"/>
              <a:t>Driving a learning culture</a:t>
            </a:r>
          </a:p>
        </p:txBody>
      </p:sp>
      <p:sp>
        <p:nvSpPr>
          <p:cNvPr id="80" name="Arrow: Bent 79">
            <a:extLst>
              <a:ext uri="{FF2B5EF4-FFF2-40B4-BE49-F238E27FC236}">
                <a16:creationId xmlns:a16="http://schemas.microsoft.com/office/drawing/2014/main" id="{733240CC-3269-41C5-A2F3-8928F1DBD81E}"/>
              </a:ext>
            </a:extLst>
          </p:cNvPr>
          <p:cNvSpPr/>
          <p:nvPr/>
        </p:nvSpPr>
        <p:spPr bwMode="auto">
          <a:xfrm rot="10800000" flipH="1">
            <a:off x="800100" y="4991098"/>
            <a:ext cx="11391900" cy="127849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9" name="Arrow: Bent 78">
            <a:extLst>
              <a:ext uri="{FF2B5EF4-FFF2-40B4-BE49-F238E27FC236}">
                <a16:creationId xmlns:a16="http://schemas.microsoft.com/office/drawing/2014/main" id="{17D27186-BC38-4ECA-BEF6-CFFBE7B3CCAC}"/>
              </a:ext>
            </a:extLst>
          </p:cNvPr>
          <p:cNvSpPr/>
          <p:nvPr/>
        </p:nvSpPr>
        <p:spPr bwMode="auto">
          <a:xfrm rot="5400000">
            <a:off x="-1628322" y="2905578"/>
            <a:ext cx="4056743" cy="80009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CE2CC25C-50A9-46BF-AD51-EC8835509681}"/>
              </a:ext>
            </a:extLst>
          </p:cNvPr>
          <p:cNvCxnSpPr>
            <a:cxnSpLocks/>
          </p:cNvCxnSpPr>
          <p:nvPr/>
        </p:nvCxnSpPr>
        <p:spPr>
          <a:xfrm>
            <a:off x="1206715" y="3684003"/>
            <a:ext cx="5720196"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A619A25-21E3-4173-8F2E-11F77AB0437D}"/>
              </a:ext>
            </a:extLst>
          </p:cNvPr>
          <p:cNvSpPr>
            <a:spLocks/>
          </p:cNvSpPr>
          <p:nvPr/>
        </p:nvSpPr>
        <p:spPr>
          <a:xfrm>
            <a:off x="1206715" y="3945271"/>
            <a:ext cx="6217614" cy="1885131"/>
          </a:xfrm>
          <a:prstGeom prst="rect">
            <a:avLst/>
          </a:prstGeom>
        </p:spPr>
        <p:txBody>
          <a:bodyPr wrap="square" lIns="0" tIns="0" rIns="0" bIns="0">
            <a:spAutoFit/>
          </a:bodyPr>
          <a:lstStyle/>
          <a:p>
            <a:pPr marL="0" marR="0" lvl="1" indent="0" algn="l" defTabSz="896181" rtl="0" eaLnBrk="1" fontAlgn="auto" latinLnBrk="0" hangingPunct="1">
              <a:lnSpc>
                <a:spcPct val="100000"/>
              </a:lnSpc>
              <a:spcBef>
                <a:spcPts val="0"/>
              </a:spcBef>
              <a:spcAft>
                <a:spcPts val="300"/>
              </a:spcAft>
              <a:buClrTx/>
              <a:buSzPct val="90000"/>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Keep learning dynamic and relevant</a:t>
            </a: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sure content is constantly refreshed and relevant. Maintain governance of learning content (internally hosted on SharePoint and from 3P sources)</a:t>
            </a: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r>
              <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dvise employees on learning trends, opportunities, and skills to look out for – for example, send out regular reports and suggestions on trending skills and topics</a:t>
            </a: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endPar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390525" marR="0" lvl="2" indent="-285750" algn="l" defTabSz="896181" rtl="0" eaLnBrk="1" fontAlgn="auto" latinLnBrk="0" hangingPunct="1">
              <a:lnSpc>
                <a:spcPct val="100000"/>
              </a:lnSpc>
              <a:spcBef>
                <a:spcPts val="0"/>
              </a:spcBef>
              <a:spcAft>
                <a:spcPts val="600"/>
              </a:spcAft>
              <a:buClrTx/>
              <a:buSzPct val="90000"/>
              <a:buFont typeface="Verdana" panose="020B0604030504040204" pitchFamily="34" charset="0"/>
              <a:buChar char="-"/>
              <a:tabLst/>
              <a:defRPr/>
            </a:pPr>
            <a:endParaRPr kumimoji="0" lang="en-US" sz="13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pic>
        <p:nvPicPr>
          <p:cNvPr id="1026" name="Picture 2" descr="M365CO20_MTR_POLY_onAndroid_001">
            <a:extLst>
              <a:ext uri="{FF2B5EF4-FFF2-40B4-BE49-F238E27FC236}">
                <a16:creationId xmlns:a16="http://schemas.microsoft.com/office/drawing/2014/main" id="{5ED3B939-2E02-4B69-B2B4-0B5FF9300DF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336" t="4484" b="1805"/>
          <a:stretch/>
        </p:blipFill>
        <p:spPr bwMode="auto">
          <a:xfrm>
            <a:off x="8068456" y="1883509"/>
            <a:ext cx="4749697" cy="36185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587257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75744" y="571638"/>
            <a:ext cx="4092976" cy="553998"/>
          </a:xfrm>
          <a:prstGeom prst="rect">
            <a:avLst/>
          </a:prstGeom>
        </p:spPr>
        <p:txBody>
          <a:bodyPr/>
          <a:lstStyle/>
          <a:p>
            <a:r>
              <a:rPr lang="en-US">
                <a:latin typeface="Segoe UI Semibold" panose="020B0702040204020203" pitchFamily="34" charset="0"/>
                <a:cs typeface="Segoe UI Semibold" panose="020B0702040204020203" pitchFamily="34" charset="0"/>
              </a:rPr>
              <a:t>Awareness plan</a:t>
            </a:r>
          </a:p>
        </p:txBody>
      </p:sp>
      <p:cxnSp>
        <p:nvCxnSpPr>
          <p:cNvPr id="23" name="Straight Connector 22"/>
          <p:cNvCxnSpPr>
            <a:cxnSpLocks/>
          </p:cNvCxnSpPr>
          <p:nvPr/>
        </p:nvCxnSpPr>
        <p:spPr>
          <a:xfrm>
            <a:off x="674438" y="5863073"/>
            <a:ext cx="93650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p:nvCxnSpPr>
        <p:spPr>
          <a:xfrm>
            <a:off x="1952523" y="5863073"/>
            <a:ext cx="2125961"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8293864" y="5783144"/>
            <a:ext cx="168511" cy="1685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err="1">
              <a:gradFill>
                <a:gsLst>
                  <a:gs pos="0">
                    <a:srgbClr val="FFFFFF"/>
                  </a:gs>
                  <a:gs pos="100000">
                    <a:srgbClr val="FFFFFF"/>
                  </a:gs>
                </a:gsLst>
                <a:lin ang="5400000" scaled="0"/>
              </a:gradFill>
              <a:ea typeface="Segoe UI" pitchFamily="34" charset="0"/>
              <a:cs typeface="Segoe UI" pitchFamily="34" charset="0"/>
            </a:endParaRPr>
          </a:p>
        </p:txBody>
      </p:sp>
      <p:sp>
        <p:nvSpPr>
          <p:cNvPr id="34" name="Title 2"/>
          <p:cNvSpPr txBox="1">
            <a:spLocks/>
          </p:cNvSpPr>
          <p:nvPr/>
        </p:nvSpPr>
        <p:spPr>
          <a:xfrm>
            <a:off x="1227488" y="5514175"/>
            <a:ext cx="1229882" cy="213640"/>
          </a:xfrm>
          <a:prstGeom prst="rect">
            <a:avLst/>
          </a:prstGeom>
        </p:spPr>
        <p:txBody>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NZ" sz="1300">
                <a:solidFill>
                  <a:schemeClr val="tx1"/>
                </a:solidFill>
              </a:rPr>
              <a:t>PRE-LAUNCH</a:t>
            </a:r>
          </a:p>
        </p:txBody>
      </p:sp>
      <p:sp>
        <p:nvSpPr>
          <p:cNvPr id="36" name="Title 2"/>
          <p:cNvSpPr txBox="1">
            <a:spLocks/>
          </p:cNvSpPr>
          <p:nvPr/>
        </p:nvSpPr>
        <p:spPr>
          <a:xfrm>
            <a:off x="4187236" y="5514175"/>
            <a:ext cx="1003952" cy="193689"/>
          </a:xfrm>
          <a:prstGeom prst="rect">
            <a:avLst/>
          </a:prstGeom>
        </p:spPr>
        <p:txBody>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NZ" sz="1300">
                <a:solidFill>
                  <a:schemeClr val="tx1"/>
                </a:solidFill>
              </a:rPr>
              <a:t>LAUNCH</a:t>
            </a:r>
          </a:p>
        </p:txBody>
      </p:sp>
      <p:sp>
        <p:nvSpPr>
          <p:cNvPr id="37" name="Title 2"/>
          <p:cNvSpPr txBox="1">
            <a:spLocks/>
          </p:cNvSpPr>
          <p:nvPr/>
        </p:nvSpPr>
        <p:spPr>
          <a:xfrm>
            <a:off x="8161585" y="5514175"/>
            <a:ext cx="1342275" cy="259474"/>
          </a:xfrm>
          <a:prstGeom prst="rect">
            <a:avLst/>
          </a:prstGeom>
        </p:spPr>
        <p:txBody>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NZ" sz="1300">
                <a:solidFill>
                  <a:schemeClr val="tx1"/>
                </a:solidFill>
              </a:rPr>
              <a:t>POST-LAUNCH</a:t>
            </a:r>
          </a:p>
        </p:txBody>
      </p:sp>
      <p:sp>
        <p:nvSpPr>
          <p:cNvPr id="38" name="Oval 37"/>
          <p:cNvSpPr/>
          <p:nvPr/>
        </p:nvSpPr>
        <p:spPr bwMode="auto">
          <a:xfrm>
            <a:off x="4342858" y="5783144"/>
            <a:ext cx="168511" cy="1685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err="1">
              <a:gradFill>
                <a:gsLst>
                  <a:gs pos="0">
                    <a:srgbClr val="FFFFFF"/>
                  </a:gs>
                  <a:gs pos="100000">
                    <a:srgbClr val="FFFFFF"/>
                  </a:gs>
                </a:gsLst>
                <a:lin ang="5400000" scaled="0"/>
              </a:gradFill>
              <a:ea typeface="Segoe UI" pitchFamily="34" charset="0"/>
              <a:cs typeface="Segoe UI" pitchFamily="34" charset="0"/>
            </a:endParaRPr>
          </a:p>
        </p:txBody>
      </p:sp>
      <p:sp>
        <p:nvSpPr>
          <p:cNvPr id="39" name="Oval 38"/>
          <p:cNvSpPr/>
          <p:nvPr/>
        </p:nvSpPr>
        <p:spPr bwMode="auto">
          <a:xfrm>
            <a:off x="1713676" y="5777613"/>
            <a:ext cx="168511" cy="168511"/>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NZ" sz="2400" err="1">
              <a:gradFill>
                <a:gsLst>
                  <a:gs pos="0">
                    <a:srgbClr val="FFFFFF"/>
                  </a:gs>
                  <a:gs pos="100000">
                    <a:srgbClr val="FFFFFF"/>
                  </a:gs>
                </a:gsLst>
                <a:lin ang="5400000" scaled="0"/>
              </a:gradFill>
              <a:ea typeface="Segoe UI" pitchFamily="34" charset="0"/>
              <a:cs typeface="Segoe UI" pitchFamily="34" charset="0"/>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678" y="6337005"/>
            <a:ext cx="1231052" cy="452717"/>
          </a:xfrm>
          <a:prstGeom prst="rect">
            <a:avLst/>
          </a:prstGeom>
        </p:spPr>
      </p:pic>
      <p:cxnSp>
        <p:nvCxnSpPr>
          <p:cNvPr id="10" name="Straight Connector 9">
            <a:extLst>
              <a:ext uri="{FF2B5EF4-FFF2-40B4-BE49-F238E27FC236}">
                <a16:creationId xmlns:a16="http://schemas.microsoft.com/office/drawing/2014/main" id="{830AFF5A-8BFD-4EFF-976E-0AFBDC99334E}"/>
              </a:ext>
            </a:extLst>
          </p:cNvPr>
          <p:cNvCxnSpPr/>
          <p:nvPr/>
        </p:nvCxnSpPr>
        <p:spPr>
          <a:xfrm>
            <a:off x="8496172" y="5867400"/>
            <a:ext cx="347019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52F2930-522E-49C8-833D-9794B77C2DFA}"/>
              </a:ext>
            </a:extLst>
          </p:cNvPr>
          <p:cNvCxnSpPr/>
          <p:nvPr/>
        </p:nvCxnSpPr>
        <p:spPr>
          <a:xfrm>
            <a:off x="4559300" y="5867399"/>
            <a:ext cx="3470190"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F8BED35C-442C-4B53-821D-25690AAA90DE}"/>
              </a:ext>
            </a:extLst>
          </p:cNvPr>
          <p:cNvSpPr/>
          <p:nvPr/>
        </p:nvSpPr>
        <p:spPr bwMode="auto">
          <a:xfrm>
            <a:off x="666632" y="1502650"/>
            <a:ext cx="3411852" cy="601123"/>
          </a:xfrm>
          <a:prstGeom prst="rect">
            <a:avLst/>
          </a:prstGeom>
          <a:solidFill>
            <a:schemeClr val="accent1">
              <a:alpha val="90000"/>
            </a:scheme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600">
                <a:solidFill>
                  <a:srgbClr val="FFFFFF"/>
                </a:solidFill>
                <a:latin typeface="Segoe UI"/>
                <a:ea typeface="Segoe UI" pitchFamily="34" charset="0"/>
                <a:cs typeface="Segoe UI" pitchFamily="34" charset="0"/>
              </a:rPr>
              <a:t>Teaser Campaign</a:t>
            </a:r>
          </a:p>
        </p:txBody>
      </p:sp>
      <p:sp>
        <p:nvSpPr>
          <p:cNvPr id="51" name="TextBox 50">
            <a:extLst>
              <a:ext uri="{FF2B5EF4-FFF2-40B4-BE49-F238E27FC236}">
                <a16:creationId xmlns:a16="http://schemas.microsoft.com/office/drawing/2014/main" id="{21AFAA32-65C8-4497-B2F9-AF8BBB46F05F}"/>
              </a:ext>
            </a:extLst>
          </p:cNvPr>
          <p:cNvSpPr txBox="1"/>
          <p:nvPr/>
        </p:nvSpPr>
        <p:spPr>
          <a:xfrm>
            <a:off x="666633" y="2105731"/>
            <a:ext cx="3411851" cy="2825082"/>
          </a:xfrm>
          <a:prstGeom prst="rect">
            <a:avLst/>
          </a:prstGeom>
          <a:noFill/>
          <a:ln w="28575">
            <a:solidFill>
              <a:schemeClr val="bg1">
                <a:lumMod val="85000"/>
              </a:schemeClr>
            </a:solidFill>
          </a:ln>
        </p:spPr>
        <p:txBody>
          <a:bodyPr wrap="square" lIns="182832" tIns="146266" rIns="182832" bIns="146266" rtlCol="0">
            <a:noAutofit/>
          </a:bodyPr>
          <a:lstStyle/>
          <a:p>
            <a:pPr defTabSz="914363">
              <a:lnSpc>
                <a:spcPct val="90000"/>
              </a:lnSpc>
              <a:spcAft>
                <a:spcPts val="600"/>
              </a:spcAft>
              <a:defRPr/>
            </a:pPr>
            <a:r>
              <a:rPr lang="en-US" sz="1200">
                <a:gradFill>
                  <a:gsLst>
                    <a:gs pos="2917">
                      <a:srgbClr val="000000"/>
                    </a:gs>
                    <a:gs pos="30000">
                      <a:srgbClr val="000000"/>
                    </a:gs>
                  </a:gsLst>
                  <a:lin ang="5400000" scaled="0"/>
                </a:gradFill>
                <a:latin typeface="Segoe UI"/>
              </a:rPr>
              <a:t>Campaign to raise awareness regarding the value Viva Learning will provide </a:t>
            </a:r>
          </a:p>
          <a:p>
            <a:pPr defTabSz="914363">
              <a:lnSpc>
                <a:spcPct val="90000"/>
              </a:lnSpc>
              <a:defRPr/>
            </a:pPr>
            <a:endParaRPr lang="en-US" sz="1200">
              <a:gradFill>
                <a:gsLst>
                  <a:gs pos="2917">
                    <a:srgbClr val="000000"/>
                  </a:gs>
                  <a:gs pos="30000">
                    <a:srgbClr val="000000"/>
                  </a:gs>
                </a:gsLst>
                <a:lin ang="5400000" scaled="0"/>
              </a:gradFill>
              <a:latin typeface="Segoe UI"/>
            </a:endParaRPr>
          </a:p>
          <a:p>
            <a:pPr marL="285664" indent="-285664" defTabSz="914363">
              <a:lnSpc>
                <a:spcPct val="90000"/>
              </a:lnSpc>
              <a:spcAft>
                <a:spcPts val="600"/>
              </a:spcAft>
              <a:buFont typeface="Arial" panose="020B0604020202020204" pitchFamily="34" charset="0"/>
              <a:buChar char="•"/>
              <a:defRPr/>
            </a:pPr>
            <a:r>
              <a:rPr lang="en-US" sz="1200">
                <a:gradFill>
                  <a:gsLst>
                    <a:gs pos="2917">
                      <a:srgbClr val="000000"/>
                    </a:gs>
                    <a:gs pos="30000">
                      <a:srgbClr val="000000"/>
                    </a:gs>
                  </a:gsLst>
                  <a:lin ang="5400000" scaled="0"/>
                </a:gradFill>
                <a:latin typeface="Segoe UI"/>
              </a:rPr>
              <a:t>Highlight scenarios of value that Viva Learning will provide to organization and key roles (refer to scenario slides in Assess section)</a:t>
            </a:r>
          </a:p>
          <a:p>
            <a:pPr marL="285664" indent="-285664" defTabSz="914363">
              <a:lnSpc>
                <a:spcPct val="90000"/>
              </a:lnSpc>
              <a:spcAft>
                <a:spcPts val="600"/>
              </a:spcAft>
              <a:buFont typeface="Arial" panose="020B0604020202020204" pitchFamily="34" charset="0"/>
              <a:buChar char="•"/>
              <a:defRPr/>
            </a:pPr>
            <a:r>
              <a:rPr lang="en-US" sz="1200">
                <a:gradFill>
                  <a:gsLst>
                    <a:gs pos="2917">
                      <a:srgbClr val="000000"/>
                    </a:gs>
                    <a:gs pos="30000">
                      <a:srgbClr val="000000"/>
                    </a:gs>
                  </a:gsLst>
                  <a:lin ang="5400000" scaled="0"/>
                </a:gradFill>
                <a:latin typeface="Segoe UI"/>
              </a:rPr>
              <a:t>Generate excitement and awareness regarding the app </a:t>
            </a:r>
          </a:p>
          <a:p>
            <a:pPr marL="285664" indent="-285664" defTabSz="914363">
              <a:lnSpc>
                <a:spcPct val="90000"/>
              </a:lnSpc>
              <a:buFont typeface="Arial" panose="020B0604020202020204" pitchFamily="34" charset="0"/>
              <a:buChar char="•"/>
              <a:defRPr/>
            </a:pPr>
            <a:r>
              <a:rPr lang="en-US" sz="1200">
                <a:gradFill>
                  <a:gsLst>
                    <a:gs pos="2917">
                      <a:srgbClr val="000000"/>
                    </a:gs>
                    <a:gs pos="30000">
                      <a:srgbClr val="000000"/>
                    </a:gs>
                  </a:gsLst>
                  <a:lin ang="5400000" scaled="0"/>
                </a:gradFill>
                <a:latin typeface="Segoe UI"/>
              </a:rPr>
              <a:t>Gain staff buy-in for project by outlining ‘what’s in it for them’</a:t>
            </a:r>
          </a:p>
        </p:txBody>
      </p:sp>
      <p:sp>
        <p:nvSpPr>
          <p:cNvPr id="52" name="Rectangle 51">
            <a:extLst>
              <a:ext uri="{FF2B5EF4-FFF2-40B4-BE49-F238E27FC236}">
                <a16:creationId xmlns:a16="http://schemas.microsoft.com/office/drawing/2014/main" id="{59741B5B-7AFA-48A7-973F-A591BE954C7F}"/>
              </a:ext>
            </a:extLst>
          </p:cNvPr>
          <p:cNvSpPr/>
          <p:nvPr/>
        </p:nvSpPr>
        <p:spPr bwMode="auto">
          <a:xfrm>
            <a:off x="4444882" y="1507137"/>
            <a:ext cx="3411852" cy="601123"/>
          </a:xfrm>
          <a:prstGeom prst="rect">
            <a:avLst/>
          </a:prstGeom>
          <a:solidFill>
            <a:schemeClr val="accent1">
              <a:alpha val="90000"/>
            </a:scheme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600">
                <a:solidFill>
                  <a:srgbClr val="FFFFFF"/>
                </a:solidFill>
                <a:latin typeface="Segoe UI"/>
                <a:ea typeface="Segoe UI" pitchFamily="34" charset="0"/>
                <a:cs typeface="Segoe UI" pitchFamily="34" charset="0"/>
              </a:rPr>
              <a:t>First Day Set Up</a:t>
            </a:r>
          </a:p>
        </p:txBody>
      </p:sp>
      <p:sp>
        <p:nvSpPr>
          <p:cNvPr id="53" name="TextBox 52">
            <a:extLst>
              <a:ext uri="{FF2B5EF4-FFF2-40B4-BE49-F238E27FC236}">
                <a16:creationId xmlns:a16="http://schemas.microsoft.com/office/drawing/2014/main" id="{BFA9AC71-9DEF-4B4D-ADFD-52391FC90D87}"/>
              </a:ext>
            </a:extLst>
          </p:cNvPr>
          <p:cNvSpPr txBox="1"/>
          <p:nvPr/>
        </p:nvSpPr>
        <p:spPr>
          <a:xfrm>
            <a:off x="4444883" y="2110219"/>
            <a:ext cx="3411851" cy="813733"/>
          </a:xfrm>
          <a:prstGeom prst="rect">
            <a:avLst/>
          </a:prstGeom>
          <a:noFill/>
          <a:ln w="28575">
            <a:solidFill>
              <a:schemeClr val="bg1">
                <a:lumMod val="85000"/>
              </a:schemeClr>
            </a:solidFill>
          </a:ln>
        </p:spPr>
        <p:txBody>
          <a:bodyPr wrap="square" lIns="182832" tIns="146266" rIns="182832" bIns="146266" rtlCol="0">
            <a:noAutofit/>
          </a:bodyPr>
          <a:lstStyle/>
          <a:p>
            <a:pPr defTabSz="914363">
              <a:lnSpc>
                <a:spcPct val="90000"/>
              </a:lnSpc>
              <a:spcAft>
                <a:spcPts val="600"/>
              </a:spcAft>
              <a:defRPr/>
            </a:pPr>
            <a:r>
              <a:rPr lang="en-US" sz="1200">
                <a:gradFill>
                  <a:gsLst>
                    <a:gs pos="2917">
                      <a:srgbClr val="000000"/>
                    </a:gs>
                    <a:gs pos="30000">
                      <a:srgbClr val="000000"/>
                    </a:gs>
                  </a:gsLst>
                  <a:lin ang="5400000" scaled="0"/>
                </a:gradFill>
                <a:latin typeface="Segoe UI"/>
              </a:rPr>
              <a:t>Communication and guide(s) to help end users get set up quickly and easily</a:t>
            </a:r>
          </a:p>
          <a:p>
            <a:pPr defTabSz="914363">
              <a:lnSpc>
                <a:spcPct val="90000"/>
              </a:lnSpc>
              <a:spcAft>
                <a:spcPts val="600"/>
              </a:spcAft>
              <a:defRPr/>
            </a:pPr>
            <a:r>
              <a:rPr lang="en-US" sz="1200">
                <a:solidFill>
                  <a:schemeClr val="accent1"/>
                </a:solidFill>
                <a:latin typeface="Segoe UI"/>
              </a:rPr>
              <a:t>See next slide for assets</a:t>
            </a:r>
          </a:p>
        </p:txBody>
      </p:sp>
      <p:sp>
        <p:nvSpPr>
          <p:cNvPr id="54" name="Rectangle 53">
            <a:extLst>
              <a:ext uri="{FF2B5EF4-FFF2-40B4-BE49-F238E27FC236}">
                <a16:creationId xmlns:a16="http://schemas.microsoft.com/office/drawing/2014/main" id="{081CAB5B-18C8-4879-8FBF-C0591FDD8B71}"/>
              </a:ext>
            </a:extLst>
          </p:cNvPr>
          <p:cNvSpPr/>
          <p:nvPr/>
        </p:nvSpPr>
        <p:spPr bwMode="auto">
          <a:xfrm>
            <a:off x="4444881" y="3098243"/>
            <a:ext cx="3411852" cy="601123"/>
          </a:xfrm>
          <a:prstGeom prst="rect">
            <a:avLst/>
          </a:prstGeom>
          <a:solidFill>
            <a:schemeClr val="accent1">
              <a:alpha val="90000"/>
            </a:scheme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600">
                <a:solidFill>
                  <a:srgbClr val="FFFFFF"/>
                </a:solidFill>
                <a:ea typeface="Segoe UI" pitchFamily="34" charset="0"/>
                <a:cs typeface="Segoe UI" pitchFamily="34" charset="0"/>
              </a:rPr>
              <a:t>Launch/Buzz Campaigns</a:t>
            </a:r>
            <a:endParaRPr lang="en-US" sz="1600">
              <a:solidFill>
                <a:srgbClr val="FFFFFF"/>
              </a:solidFill>
              <a:latin typeface="Segoe UI"/>
              <a:ea typeface="Segoe UI" pitchFamily="34" charset="0"/>
              <a:cs typeface="Segoe UI" pitchFamily="34" charset="0"/>
            </a:endParaRPr>
          </a:p>
        </p:txBody>
      </p:sp>
      <p:sp>
        <p:nvSpPr>
          <p:cNvPr id="55" name="TextBox 54">
            <a:extLst>
              <a:ext uri="{FF2B5EF4-FFF2-40B4-BE49-F238E27FC236}">
                <a16:creationId xmlns:a16="http://schemas.microsoft.com/office/drawing/2014/main" id="{32A18B77-9C4A-4B8D-BE45-92124FA57310}"/>
              </a:ext>
            </a:extLst>
          </p:cNvPr>
          <p:cNvSpPr txBox="1"/>
          <p:nvPr/>
        </p:nvSpPr>
        <p:spPr>
          <a:xfrm>
            <a:off x="4444882" y="3701325"/>
            <a:ext cx="3411851" cy="1229489"/>
          </a:xfrm>
          <a:prstGeom prst="rect">
            <a:avLst/>
          </a:prstGeom>
          <a:noFill/>
          <a:ln w="28575">
            <a:solidFill>
              <a:schemeClr val="bg1">
                <a:lumMod val="85000"/>
              </a:schemeClr>
            </a:solidFill>
          </a:ln>
        </p:spPr>
        <p:txBody>
          <a:bodyPr wrap="square" lIns="182832" tIns="146266" rIns="182832" bIns="146266" rtlCol="0">
            <a:noAutofit/>
          </a:bodyPr>
          <a:lstStyle/>
          <a:p>
            <a:pPr marL="285664" indent="-285664" defTabSz="914363">
              <a:lnSpc>
                <a:spcPct val="90000"/>
              </a:lnSpc>
              <a:spcAft>
                <a:spcPts val="600"/>
              </a:spcAft>
              <a:buFont typeface="Arial" panose="020B0604020202020204" pitchFamily="34" charset="0"/>
              <a:buChar char="•"/>
              <a:defRPr/>
            </a:pPr>
            <a:r>
              <a:rPr lang="en-US" sz="1200">
                <a:gradFill>
                  <a:gsLst>
                    <a:gs pos="2917">
                      <a:srgbClr val="000000"/>
                    </a:gs>
                    <a:gs pos="30000">
                      <a:srgbClr val="000000"/>
                    </a:gs>
                  </a:gsLst>
                  <a:lin ang="5400000" scaled="0"/>
                </a:gradFill>
              </a:rPr>
              <a:t>Campaigns to kick-off Viva Learning launch and support adoption post-launch</a:t>
            </a:r>
          </a:p>
          <a:p>
            <a:pPr marL="285664" indent="-285664" defTabSz="914363">
              <a:lnSpc>
                <a:spcPct val="90000"/>
              </a:lnSpc>
              <a:spcAft>
                <a:spcPts val="600"/>
              </a:spcAft>
              <a:buFont typeface="Arial" panose="020B0604020202020204" pitchFamily="34" charset="0"/>
              <a:buChar char="•"/>
              <a:defRPr/>
            </a:pPr>
            <a:r>
              <a:rPr lang="en-US" sz="1200">
                <a:gradFill>
                  <a:gsLst>
                    <a:gs pos="2917">
                      <a:srgbClr val="000000"/>
                    </a:gs>
                    <a:gs pos="30000">
                      <a:srgbClr val="000000"/>
                    </a:gs>
                  </a:gsLst>
                  <a:lin ang="5400000" scaled="0"/>
                </a:gradFill>
              </a:rPr>
              <a:t>Scenario-focused events and email campaigns that showcase the user experience</a:t>
            </a:r>
          </a:p>
        </p:txBody>
      </p:sp>
      <p:sp>
        <p:nvSpPr>
          <p:cNvPr id="56" name="Rectangle 55">
            <a:extLst>
              <a:ext uri="{FF2B5EF4-FFF2-40B4-BE49-F238E27FC236}">
                <a16:creationId xmlns:a16="http://schemas.microsoft.com/office/drawing/2014/main" id="{AF5111C4-65BE-4DE0-A528-7E4D68E947A9}"/>
              </a:ext>
            </a:extLst>
          </p:cNvPr>
          <p:cNvSpPr/>
          <p:nvPr/>
        </p:nvSpPr>
        <p:spPr bwMode="auto">
          <a:xfrm>
            <a:off x="8293863" y="1500692"/>
            <a:ext cx="3411852" cy="601123"/>
          </a:xfrm>
          <a:prstGeom prst="rect">
            <a:avLst/>
          </a:prstGeom>
          <a:solidFill>
            <a:schemeClr val="accent1">
              <a:alpha val="90000"/>
            </a:scheme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ctr" anchorCtr="0" forceAA="0" compatLnSpc="1">
            <a:prstTxWarp prst="textNoShape">
              <a:avLst/>
            </a:prstTxWarp>
            <a:noAutofit/>
          </a:bodyPr>
          <a:lstStyle/>
          <a:p>
            <a:pPr algn="ctr" defTabSz="913828" fontAlgn="base">
              <a:lnSpc>
                <a:spcPct val="90000"/>
              </a:lnSpc>
              <a:spcBef>
                <a:spcPct val="0"/>
              </a:spcBef>
              <a:spcAft>
                <a:spcPct val="0"/>
              </a:spcAft>
              <a:defRPr/>
            </a:pPr>
            <a:r>
              <a:rPr lang="en-US" sz="1600">
                <a:solidFill>
                  <a:srgbClr val="FFFFFF"/>
                </a:solidFill>
                <a:latin typeface="Segoe UI"/>
                <a:ea typeface="Segoe UI" pitchFamily="34" charset="0"/>
                <a:cs typeface="Segoe UI" pitchFamily="34" charset="0"/>
              </a:rPr>
              <a:t>Tips Campaign</a:t>
            </a:r>
          </a:p>
        </p:txBody>
      </p:sp>
      <p:sp>
        <p:nvSpPr>
          <p:cNvPr id="57" name="TextBox 56">
            <a:extLst>
              <a:ext uri="{FF2B5EF4-FFF2-40B4-BE49-F238E27FC236}">
                <a16:creationId xmlns:a16="http://schemas.microsoft.com/office/drawing/2014/main" id="{5DD4253F-3F25-4BD6-AECE-2E64AC7C59EA}"/>
              </a:ext>
            </a:extLst>
          </p:cNvPr>
          <p:cNvSpPr txBox="1"/>
          <p:nvPr/>
        </p:nvSpPr>
        <p:spPr>
          <a:xfrm>
            <a:off x="8293864" y="2103773"/>
            <a:ext cx="3411851" cy="2825076"/>
          </a:xfrm>
          <a:prstGeom prst="rect">
            <a:avLst/>
          </a:prstGeom>
          <a:noFill/>
          <a:ln w="28575">
            <a:solidFill>
              <a:schemeClr val="bg1">
                <a:lumMod val="85000"/>
              </a:schemeClr>
            </a:solidFill>
          </a:ln>
        </p:spPr>
        <p:txBody>
          <a:bodyPr wrap="square" lIns="182832" tIns="146266" rIns="182832" bIns="146266" rtlCol="0">
            <a:noAutofit/>
          </a:bodyPr>
          <a:lstStyle/>
          <a:p>
            <a:pPr defTabSz="914363">
              <a:lnSpc>
                <a:spcPct val="90000"/>
              </a:lnSpc>
              <a:spcAft>
                <a:spcPts val="600"/>
              </a:spcAft>
              <a:defRPr/>
            </a:pPr>
            <a:r>
              <a:rPr lang="en-US" sz="1200">
                <a:gradFill>
                  <a:gsLst>
                    <a:gs pos="2917">
                      <a:srgbClr val="000000"/>
                    </a:gs>
                    <a:gs pos="30000">
                      <a:srgbClr val="000000"/>
                    </a:gs>
                  </a:gsLst>
                  <a:lin ang="5400000" scaled="0"/>
                </a:gradFill>
              </a:rPr>
              <a:t>Campaign focused on key tips for Viva Learning to help employees get the most value from working in new ways</a:t>
            </a:r>
          </a:p>
          <a:p>
            <a:pPr defTabSz="914363">
              <a:lnSpc>
                <a:spcPct val="90000"/>
              </a:lnSpc>
              <a:spcAft>
                <a:spcPts val="600"/>
              </a:spcAft>
              <a:defRPr/>
            </a:pPr>
            <a:endParaRPr lang="en-US" sz="1200">
              <a:gradFill>
                <a:gsLst>
                  <a:gs pos="2917">
                    <a:srgbClr val="000000"/>
                  </a:gs>
                  <a:gs pos="30000">
                    <a:srgbClr val="000000"/>
                  </a:gs>
                </a:gsLst>
                <a:lin ang="5400000" scaled="0"/>
              </a:gradFill>
            </a:endParaRPr>
          </a:p>
          <a:p>
            <a:pPr marL="285664" indent="-285664" defTabSz="914363">
              <a:lnSpc>
                <a:spcPct val="90000"/>
              </a:lnSpc>
              <a:spcAft>
                <a:spcPts val="600"/>
              </a:spcAft>
              <a:buFont typeface="Arial" panose="020B0604020202020204" pitchFamily="34" charset="0"/>
              <a:buChar char="•"/>
              <a:defRPr/>
            </a:pPr>
            <a:r>
              <a:rPr lang="en-US" sz="1200">
                <a:gradFill>
                  <a:gsLst>
                    <a:gs pos="2917">
                      <a:srgbClr val="000000"/>
                    </a:gs>
                    <a:gs pos="30000">
                      <a:srgbClr val="000000"/>
                    </a:gs>
                  </a:gsLst>
                  <a:lin ang="5400000" scaled="0"/>
                </a:gradFill>
              </a:rPr>
              <a:t>Make it top of mind for staff regarding how to work in new ways with Viva Learning</a:t>
            </a:r>
          </a:p>
          <a:p>
            <a:pPr marL="285664" indent="-285664" defTabSz="914363">
              <a:lnSpc>
                <a:spcPct val="90000"/>
              </a:lnSpc>
              <a:spcAft>
                <a:spcPts val="600"/>
              </a:spcAft>
              <a:buFont typeface="Arial" panose="020B0604020202020204" pitchFamily="34" charset="0"/>
              <a:buChar char="•"/>
              <a:defRPr/>
            </a:pPr>
            <a:r>
              <a:rPr lang="en-US" sz="1200">
                <a:gradFill>
                  <a:gsLst>
                    <a:gs pos="2917">
                      <a:srgbClr val="000000"/>
                    </a:gs>
                    <a:gs pos="30000">
                      <a:srgbClr val="000000"/>
                    </a:gs>
                  </a:gsLst>
                  <a:lin ang="5400000" scaled="0"/>
                </a:gradFill>
              </a:rPr>
              <a:t>Reinforce new behaviors and resources to support – outline key stop, start, continue behaviors</a:t>
            </a:r>
          </a:p>
          <a:p>
            <a:pPr defTabSz="914363">
              <a:lnSpc>
                <a:spcPct val="90000"/>
              </a:lnSpc>
              <a:spcAft>
                <a:spcPts val="600"/>
              </a:spcAft>
              <a:defRPr/>
            </a:pPr>
            <a:endParaRPr lang="en-US" sz="1200">
              <a:gradFill>
                <a:gsLst>
                  <a:gs pos="2917">
                    <a:srgbClr val="000000"/>
                  </a:gs>
                  <a:gs pos="30000">
                    <a:srgbClr val="000000"/>
                  </a:gs>
                </a:gsLst>
                <a:lin ang="5400000" scaled="0"/>
              </a:gradFill>
            </a:endParaRPr>
          </a:p>
          <a:p>
            <a:pPr defTabSz="914363">
              <a:lnSpc>
                <a:spcPct val="90000"/>
              </a:lnSpc>
              <a:spcAft>
                <a:spcPts val="600"/>
              </a:spcAft>
              <a:defRPr/>
            </a:pPr>
            <a:r>
              <a:rPr lang="en-US" sz="1200">
                <a:gradFill>
                  <a:gsLst>
                    <a:gs pos="2917">
                      <a:srgbClr val="000000"/>
                    </a:gs>
                    <a:gs pos="30000">
                      <a:srgbClr val="000000"/>
                    </a:gs>
                  </a:gsLst>
                  <a:lin ang="5400000" scaled="0"/>
                </a:gradFill>
              </a:rPr>
              <a:t>Share common scenarios and use cases with the </a:t>
            </a:r>
            <a:r>
              <a:rPr lang="en-US" sz="1200">
                <a:gradFill>
                  <a:gsLst>
                    <a:gs pos="2917">
                      <a:srgbClr val="000000"/>
                    </a:gs>
                    <a:gs pos="30000">
                      <a:srgbClr val="000000"/>
                    </a:gs>
                  </a:gsLst>
                  <a:lin ang="5400000" scaled="0"/>
                </a:gradFill>
                <a:hlinkClick r:id="rId4"/>
              </a:rPr>
              <a:t>Viva Learning scenario guide</a:t>
            </a:r>
            <a:endParaRPr lang="en-US" sz="1200">
              <a:gradFill>
                <a:gsLst>
                  <a:gs pos="2917">
                    <a:srgbClr val="000000"/>
                  </a:gs>
                  <a:gs pos="30000">
                    <a:srgbClr val="000000"/>
                  </a:gs>
                </a:gsLst>
                <a:lin ang="5400000" scaled="0"/>
              </a:gradFill>
            </a:endParaRPr>
          </a:p>
        </p:txBody>
      </p:sp>
    </p:spTree>
    <p:extLst>
      <p:ext uri="{BB962C8B-B14F-4D97-AF65-F5344CB8AC3E}">
        <p14:creationId xmlns:p14="http://schemas.microsoft.com/office/powerpoint/2010/main" val="29876289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4C601-04EE-47F4-8CEC-734112D7AE07}"/>
              </a:ext>
            </a:extLst>
          </p:cNvPr>
          <p:cNvSpPr>
            <a:spLocks noGrp="1"/>
          </p:cNvSpPr>
          <p:nvPr>
            <p:ph type="title"/>
          </p:nvPr>
        </p:nvSpPr>
        <p:spPr/>
        <p:txBody>
          <a:bodyPr/>
          <a:lstStyle/>
          <a:p>
            <a:r>
              <a:rPr lang="en-US"/>
              <a:t>Use Available Templates/Guides</a:t>
            </a:r>
          </a:p>
        </p:txBody>
      </p:sp>
      <p:sp>
        <p:nvSpPr>
          <p:cNvPr id="3" name="Text Placeholder 2">
            <a:extLst>
              <a:ext uri="{FF2B5EF4-FFF2-40B4-BE49-F238E27FC236}">
                <a16:creationId xmlns:a16="http://schemas.microsoft.com/office/drawing/2014/main" id="{B47E564D-4A8C-4628-93DE-8B4C71B91098}"/>
              </a:ext>
            </a:extLst>
          </p:cNvPr>
          <p:cNvSpPr>
            <a:spLocks noGrp="1"/>
          </p:cNvSpPr>
          <p:nvPr>
            <p:ph type="body" sz="quarter" idx="10"/>
          </p:nvPr>
        </p:nvSpPr>
        <p:spPr>
          <a:xfrm>
            <a:off x="586740" y="1183359"/>
            <a:ext cx="11018520" cy="307777"/>
          </a:xfrm>
        </p:spPr>
        <p:txBody>
          <a:bodyPr/>
          <a:lstStyle/>
          <a:p>
            <a:r>
              <a:rPr lang="en-US" sz="2000"/>
              <a:t>Download resources at </a:t>
            </a:r>
            <a:r>
              <a:rPr lang="en-US" sz="2000">
                <a:hlinkClick r:id="rId2"/>
              </a:rPr>
              <a:t>aka.ms/</a:t>
            </a:r>
            <a:r>
              <a:rPr lang="en-US" sz="2000" err="1">
                <a:hlinkClick r:id="rId2"/>
              </a:rPr>
              <a:t>VivaLearningAdoption</a:t>
            </a:r>
            <a:endParaRPr lang="en-US" sz="2000"/>
          </a:p>
        </p:txBody>
      </p:sp>
      <p:pic>
        <p:nvPicPr>
          <p:cNvPr id="5" name="Picture 4">
            <a:extLst>
              <a:ext uri="{FF2B5EF4-FFF2-40B4-BE49-F238E27FC236}">
                <a16:creationId xmlns:a16="http://schemas.microsoft.com/office/drawing/2014/main" id="{521F0935-CFCB-48C1-880A-601923395A2E}"/>
              </a:ext>
            </a:extLst>
          </p:cNvPr>
          <p:cNvPicPr>
            <a:picLocks noChangeAspect="1"/>
          </p:cNvPicPr>
          <p:nvPr/>
        </p:nvPicPr>
        <p:blipFill>
          <a:blip r:embed="rId3"/>
          <a:stretch>
            <a:fillRect/>
          </a:stretch>
        </p:blipFill>
        <p:spPr>
          <a:xfrm>
            <a:off x="1237226" y="2061881"/>
            <a:ext cx="2421912" cy="3184447"/>
          </a:xfrm>
          <a:prstGeom prst="rect">
            <a:avLst/>
          </a:prstGeom>
        </p:spPr>
      </p:pic>
      <p:pic>
        <p:nvPicPr>
          <p:cNvPr id="7" name="Picture 6">
            <a:extLst>
              <a:ext uri="{FF2B5EF4-FFF2-40B4-BE49-F238E27FC236}">
                <a16:creationId xmlns:a16="http://schemas.microsoft.com/office/drawing/2014/main" id="{EF87D144-5A71-40C4-9E3E-C03B372ED4AC}"/>
              </a:ext>
            </a:extLst>
          </p:cNvPr>
          <p:cNvPicPr>
            <a:picLocks noChangeAspect="1"/>
          </p:cNvPicPr>
          <p:nvPr/>
        </p:nvPicPr>
        <p:blipFill>
          <a:blip r:embed="rId4"/>
          <a:stretch>
            <a:fillRect/>
          </a:stretch>
        </p:blipFill>
        <p:spPr>
          <a:xfrm>
            <a:off x="4018305" y="2061881"/>
            <a:ext cx="2437957" cy="3184447"/>
          </a:xfrm>
          <a:prstGeom prst="rect">
            <a:avLst/>
          </a:prstGeom>
        </p:spPr>
      </p:pic>
      <p:pic>
        <p:nvPicPr>
          <p:cNvPr id="9" name="Picture 8">
            <a:extLst>
              <a:ext uri="{FF2B5EF4-FFF2-40B4-BE49-F238E27FC236}">
                <a16:creationId xmlns:a16="http://schemas.microsoft.com/office/drawing/2014/main" id="{88F3E000-606B-40BE-884E-6D3C530F4530}"/>
              </a:ext>
            </a:extLst>
          </p:cNvPr>
          <p:cNvPicPr>
            <a:picLocks noChangeAspect="1"/>
          </p:cNvPicPr>
          <p:nvPr/>
        </p:nvPicPr>
        <p:blipFill>
          <a:blip r:embed="rId5"/>
          <a:stretch>
            <a:fillRect/>
          </a:stretch>
        </p:blipFill>
        <p:spPr>
          <a:xfrm>
            <a:off x="8303770" y="572554"/>
            <a:ext cx="2967412" cy="2385799"/>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34372A5C-4F89-458E-BEB9-4CEEC01D0EE0}"/>
              </a:ext>
            </a:extLst>
          </p:cNvPr>
          <p:cNvSpPr txBox="1"/>
          <p:nvPr/>
        </p:nvSpPr>
        <p:spPr>
          <a:xfrm>
            <a:off x="1036240" y="5362788"/>
            <a:ext cx="2823883" cy="184666"/>
          </a:xfrm>
          <a:prstGeom prst="rect">
            <a:avLst/>
          </a:prstGeom>
          <a:noFill/>
        </p:spPr>
        <p:txBody>
          <a:bodyPr wrap="square" lIns="0" tIns="0" rIns="0" bIns="0" rtlCol="0">
            <a:spAutoFit/>
          </a:bodyPr>
          <a:lstStyle/>
          <a:p>
            <a:pPr algn="ctr"/>
            <a:r>
              <a:rPr lang="en-US" sz="1200"/>
              <a:t>Intro to Viva Learning flyer</a:t>
            </a:r>
          </a:p>
        </p:txBody>
      </p:sp>
      <p:sp>
        <p:nvSpPr>
          <p:cNvPr id="12" name="TextBox 11">
            <a:extLst>
              <a:ext uri="{FF2B5EF4-FFF2-40B4-BE49-F238E27FC236}">
                <a16:creationId xmlns:a16="http://schemas.microsoft.com/office/drawing/2014/main" id="{AC4D2BB8-9BA4-49FD-AAFC-7D681104D4B1}"/>
              </a:ext>
            </a:extLst>
          </p:cNvPr>
          <p:cNvSpPr txBox="1"/>
          <p:nvPr/>
        </p:nvSpPr>
        <p:spPr>
          <a:xfrm>
            <a:off x="3825341" y="5362788"/>
            <a:ext cx="2823883" cy="184666"/>
          </a:xfrm>
          <a:prstGeom prst="rect">
            <a:avLst/>
          </a:prstGeom>
          <a:noFill/>
        </p:spPr>
        <p:txBody>
          <a:bodyPr wrap="square" lIns="0" tIns="0" rIns="0" bIns="0" rtlCol="0">
            <a:spAutoFit/>
          </a:bodyPr>
          <a:lstStyle/>
          <a:p>
            <a:pPr algn="ctr"/>
            <a:r>
              <a:rPr lang="en-US" sz="1200"/>
              <a:t>3 ways to make learning easier flyer</a:t>
            </a:r>
          </a:p>
        </p:txBody>
      </p:sp>
      <p:sp>
        <p:nvSpPr>
          <p:cNvPr id="14" name="TextBox 13">
            <a:extLst>
              <a:ext uri="{FF2B5EF4-FFF2-40B4-BE49-F238E27FC236}">
                <a16:creationId xmlns:a16="http://schemas.microsoft.com/office/drawing/2014/main" id="{961EEEF0-C3BF-4422-80CA-4816F953E810}"/>
              </a:ext>
            </a:extLst>
          </p:cNvPr>
          <p:cNvSpPr txBox="1"/>
          <p:nvPr/>
        </p:nvSpPr>
        <p:spPr>
          <a:xfrm>
            <a:off x="8235531" y="3169786"/>
            <a:ext cx="3103890" cy="184666"/>
          </a:xfrm>
          <a:prstGeom prst="rect">
            <a:avLst/>
          </a:prstGeom>
          <a:noFill/>
        </p:spPr>
        <p:txBody>
          <a:bodyPr wrap="square" lIns="0" tIns="0" rIns="0" bIns="0" rtlCol="0">
            <a:spAutoFit/>
          </a:bodyPr>
          <a:lstStyle/>
          <a:p>
            <a:pPr algn="ctr"/>
            <a:r>
              <a:rPr lang="en-US" sz="1200"/>
              <a:t>Viva Learning announcement email template</a:t>
            </a:r>
          </a:p>
        </p:txBody>
      </p:sp>
      <p:pic>
        <p:nvPicPr>
          <p:cNvPr id="16" name="Picture 15">
            <a:extLst>
              <a:ext uri="{FF2B5EF4-FFF2-40B4-BE49-F238E27FC236}">
                <a16:creationId xmlns:a16="http://schemas.microsoft.com/office/drawing/2014/main" id="{963526DB-C67E-489E-9096-8A6518455AF8}"/>
              </a:ext>
            </a:extLst>
          </p:cNvPr>
          <p:cNvPicPr>
            <a:picLocks noChangeAspect="1"/>
          </p:cNvPicPr>
          <p:nvPr/>
        </p:nvPicPr>
        <p:blipFill>
          <a:blip r:embed="rId6"/>
          <a:stretch>
            <a:fillRect/>
          </a:stretch>
        </p:blipFill>
        <p:spPr>
          <a:xfrm>
            <a:off x="9412952" y="3717976"/>
            <a:ext cx="1858230" cy="2814918"/>
          </a:xfrm>
          <a:prstGeom prst="rect">
            <a:avLst/>
          </a:prstGeom>
          <a:ln>
            <a:noFill/>
          </a:ln>
          <a:effectLst>
            <a:outerShdw blurRad="292100" dist="139700" dir="2700000" algn="tl" rotWithShape="0">
              <a:srgbClr val="333333">
                <a:alpha val="65000"/>
              </a:srgbClr>
            </a:outerShdw>
          </a:effectLst>
        </p:spPr>
      </p:pic>
      <p:sp>
        <p:nvSpPr>
          <p:cNvPr id="18" name="TextBox 17">
            <a:extLst>
              <a:ext uri="{FF2B5EF4-FFF2-40B4-BE49-F238E27FC236}">
                <a16:creationId xmlns:a16="http://schemas.microsoft.com/office/drawing/2014/main" id="{35A9C98F-9080-4D7B-B18D-E8B09F338BE9}"/>
              </a:ext>
            </a:extLst>
          </p:cNvPr>
          <p:cNvSpPr txBox="1"/>
          <p:nvPr/>
        </p:nvSpPr>
        <p:spPr>
          <a:xfrm>
            <a:off x="6649224" y="6100780"/>
            <a:ext cx="3103890" cy="184666"/>
          </a:xfrm>
          <a:prstGeom prst="rect">
            <a:avLst/>
          </a:prstGeom>
          <a:noFill/>
        </p:spPr>
        <p:txBody>
          <a:bodyPr wrap="square" lIns="0" tIns="0" rIns="0" bIns="0" rtlCol="0">
            <a:spAutoFit/>
          </a:bodyPr>
          <a:lstStyle/>
          <a:p>
            <a:pPr algn="ctr"/>
            <a:r>
              <a:rPr lang="en-US" sz="1200"/>
              <a:t>Viva Learning scenario guide</a:t>
            </a:r>
          </a:p>
        </p:txBody>
      </p:sp>
    </p:spTree>
    <p:extLst>
      <p:ext uri="{BB962C8B-B14F-4D97-AF65-F5344CB8AC3E}">
        <p14:creationId xmlns:p14="http://schemas.microsoft.com/office/powerpoint/2010/main" val="358365836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A1EE3B-B758-4844-A243-F5E75EAC4E8D}"/>
              </a:ext>
              <a:ext uri="{C183D7F6-B498-43B3-948B-1728B52AA6E4}">
                <adec:decorative xmlns:adec="http://schemas.microsoft.com/office/drawing/2017/decorative" val="1"/>
              </a:ext>
            </a:extLst>
          </p:cNvPr>
          <p:cNvSpPr/>
          <p:nvPr/>
        </p:nvSpPr>
        <p:spPr bwMode="white">
          <a:xfrm>
            <a:off x="609601" y="-2"/>
            <a:ext cx="11582399" cy="68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82AD2E4A-3C57-40F7-8A60-0AD6B9EA998C}"/>
              </a:ext>
            </a:extLst>
          </p:cNvPr>
          <p:cNvGrpSpPr/>
          <p:nvPr/>
        </p:nvGrpSpPr>
        <p:grpSpPr>
          <a:xfrm>
            <a:off x="6882384" y="-1"/>
            <a:ext cx="5309616" cy="6858001"/>
            <a:chOff x="6882384" y="-1"/>
            <a:chExt cx="5309616" cy="6858001"/>
          </a:xfrm>
        </p:grpSpPr>
        <p:pic>
          <p:nvPicPr>
            <p:cNvPr id="14" name="Graphic 13" descr="Viva graphic">
              <a:extLst>
                <a:ext uri="{FF2B5EF4-FFF2-40B4-BE49-F238E27FC236}">
                  <a16:creationId xmlns:a16="http://schemas.microsoft.com/office/drawing/2014/main" id="{D81B13CB-DD7D-4199-90F6-BCBE4679B7C9}"/>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 t="37067" r="63457" b="24387"/>
            <a:stretch/>
          </p:blipFill>
          <p:spPr bwMode="ltGray">
            <a:xfrm>
              <a:off x="6882384" y="1257299"/>
              <a:ext cx="5309616" cy="5600701"/>
            </a:xfrm>
            <a:prstGeom prst="rect">
              <a:avLst/>
            </a:prstGeom>
          </p:spPr>
        </p:pic>
        <p:pic>
          <p:nvPicPr>
            <p:cNvPr id="15" name="Graphic 14" descr="Viva graphic">
              <a:extLst>
                <a:ext uri="{FF2B5EF4-FFF2-40B4-BE49-F238E27FC236}">
                  <a16:creationId xmlns:a16="http://schemas.microsoft.com/office/drawing/2014/main" id="{53AE230C-92AC-4825-B8EB-8F8B34B8B8E8}"/>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19363" r="63456" b="59769"/>
            <a:stretch/>
          </p:blipFill>
          <p:spPr bwMode="ltGray">
            <a:xfrm>
              <a:off x="6882384" y="-1"/>
              <a:ext cx="5309616" cy="3032125"/>
            </a:xfrm>
            <a:prstGeom prst="rect">
              <a:avLst/>
            </a:prstGeom>
          </p:spPr>
        </p:pic>
      </p:grpSp>
      <p:sp>
        <p:nvSpPr>
          <p:cNvPr id="2" name="Title 1"/>
          <p:cNvSpPr>
            <a:spLocks noGrp="1"/>
          </p:cNvSpPr>
          <p:nvPr>
            <p:ph type="title" idx="4294967295"/>
          </p:nvPr>
        </p:nvSpPr>
        <p:spPr>
          <a:xfrm>
            <a:off x="1458913" y="3059113"/>
            <a:ext cx="10733087" cy="739775"/>
          </a:xfrm>
        </p:spPr>
        <p:txBody>
          <a:bodyPr anchor="ctr"/>
          <a:lstStyle/>
          <a:p>
            <a:r>
              <a:rPr lang="en-US" sz="4800" noProof="0"/>
              <a:t>Drive value</a:t>
            </a:r>
            <a:endParaRPr lang="en-US" sz="4000">
              <a:latin typeface="+mn-lt"/>
            </a:endParaRPr>
          </a:p>
        </p:txBody>
      </p:sp>
      <p:sp>
        <p:nvSpPr>
          <p:cNvPr id="9" name="Rectangle 8">
            <a:extLst>
              <a:ext uri="{FF2B5EF4-FFF2-40B4-BE49-F238E27FC236}">
                <a16:creationId xmlns:a16="http://schemas.microsoft.com/office/drawing/2014/main" id="{C543855F-6763-475C-8D44-CB4367D2B2D8}"/>
              </a:ext>
              <a:ext uri="{C183D7F6-B498-43B3-948B-1728B52AA6E4}">
                <adec:decorative xmlns:adec="http://schemas.microsoft.com/office/drawing/2017/decorative" val="1"/>
              </a:ext>
            </a:extLst>
          </p:cNvPr>
          <p:cNvSpPr/>
          <p:nvPr/>
        </p:nvSpPr>
        <p:spPr bwMode="white">
          <a:xfrm>
            <a:off x="1" y="0"/>
            <a:ext cx="609600" cy="686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1069702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57318D9D-4441-4BF5-B50B-C6967D4C67A2}"/>
              </a:ext>
            </a:extLst>
          </p:cNvPr>
          <p:cNvGrpSpPr/>
          <p:nvPr/>
        </p:nvGrpSpPr>
        <p:grpSpPr>
          <a:xfrm>
            <a:off x="584200" y="3894526"/>
            <a:ext cx="6688243" cy="576006"/>
            <a:chOff x="584200" y="3210139"/>
            <a:chExt cx="6688243" cy="576006"/>
          </a:xfrm>
        </p:grpSpPr>
        <p:sp>
          <p:nvSpPr>
            <p:cNvPr id="17" name="TextBox 16">
              <a:extLst>
                <a:ext uri="{FF2B5EF4-FFF2-40B4-BE49-F238E27FC236}">
                  <a16:creationId xmlns:a16="http://schemas.microsoft.com/office/drawing/2014/main" id="{C4132C4F-4E0C-4BB6-B151-844EDB6430CA}"/>
                </a:ext>
              </a:extLst>
            </p:cNvPr>
            <p:cNvSpPr txBox="1"/>
            <p:nvPr/>
          </p:nvSpPr>
          <p:spPr>
            <a:xfrm>
              <a:off x="1340260" y="3251921"/>
              <a:ext cx="5932183" cy="492443"/>
            </a:xfrm>
            <a:prstGeom prst="rect">
              <a:avLst/>
            </a:prstGeom>
            <a:noFill/>
          </p:spPr>
          <p:txBody>
            <a:bodyPr wrap="square" lIns="0" tIns="0" rIns="0" bIns="0" anchor="ctr">
              <a:noAutofit/>
            </a:bodyPr>
            <a:lstStyle/>
            <a:p>
              <a:pPr marL="104775" marR="0" lvl="2" algn="l" defTabSz="896181" rtl="0" eaLnBrk="1" fontAlgn="auto" latinLnBrk="0" hangingPunct="1">
                <a:lnSpc>
                  <a:spcPct val="100000"/>
                </a:lnSpc>
                <a:spcBef>
                  <a:spcPts val="0"/>
                </a:spcBef>
                <a:spcAft>
                  <a:spcPts val="600"/>
                </a:spcAft>
                <a:buClrTx/>
                <a:buSzPct val="90000"/>
                <a:tabLst/>
                <a:defRPr/>
              </a:pPr>
              <a:r>
                <a:rPr kumimoji="0" lang="en-US" sz="16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artner opportunity] </a:t>
              </a: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Leverage partners/agencies or internal analyst teams to build dashboards and reporting to gather insights on learning adoption, engagement, and trends across your organization</a:t>
              </a:r>
            </a:p>
          </p:txBody>
        </p:sp>
        <p:grpSp>
          <p:nvGrpSpPr>
            <p:cNvPr id="10" name="Group 9">
              <a:extLst>
                <a:ext uri="{FF2B5EF4-FFF2-40B4-BE49-F238E27FC236}">
                  <a16:creationId xmlns:a16="http://schemas.microsoft.com/office/drawing/2014/main" id="{AC549941-C6FD-4EE5-A5FB-B87C50185B84}"/>
                </a:ext>
              </a:extLst>
            </p:cNvPr>
            <p:cNvGrpSpPr/>
            <p:nvPr/>
          </p:nvGrpSpPr>
          <p:grpSpPr>
            <a:xfrm>
              <a:off x="584200" y="3210139"/>
              <a:ext cx="576006" cy="576006"/>
              <a:chOff x="584200" y="3210139"/>
              <a:chExt cx="576006" cy="576006"/>
            </a:xfrm>
          </p:grpSpPr>
          <p:sp>
            <p:nvSpPr>
              <p:cNvPr id="30" name="Oval 29">
                <a:extLst>
                  <a:ext uri="{FF2B5EF4-FFF2-40B4-BE49-F238E27FC236}">
                    <a16:creationId xmlns:a16="http://schemas.microsoft.com/office/drawing/2014/main" id="{DB93EF43-549A-47D5-9D9D-DA4416427C24}"/>
                  </a:ext>
                </a:extLst>
              </p:cNvPr>
              <p:cNvSpPr>
                <a:spLocks/>
              </p:cNvSpPr>
              <p:nvPr/>
            </p:nvSpPr>
            <p:spPr bwMode="auto">
              <a:xfrm>
                <a:off x="584200" y="3210139"/>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4" name="Oval 33">
                <a:extLst>
                  <a:ext uri="{FF2B5EF4-FFF2-40B4-BE49-F238E27FC236}">
                    <a16:creationId xmlns:a16="http://schemas.microsoft.com/office/drawing/2014/main" id="{6A66E556-D5BA-4706-A86D-8CD260B2CD4A}"/>
                  </a:ext>
                </a:extLst>
              </p:cNvPr>
              <p:cNvSpPr/>
              <p:nvPr/>
            </p:nvSpPr>
            <p:spPr bwMode="auto">
              <a:xfrm>
                <a:off x="640205" y="3269605"/>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2</a:t>
                </a:r>
              </a:p>
            </p:txBody>
          </p:sp>
        </p:grpSp>
      </p:grpSp>
      <p:grpSp>
        <p:nvGrpSpPr>
          <p:cNvPr id="24" name="Group 23">
            <a:extLst>
              <a:ext uri="{FF2B5EF4-FFF2-40B4-BE49-F238E27FC236}">
                <a16:creationId xmlns:a16="http://schemas.microsoft.com/office/drawing/2014/main" id="{AEE09FB7-1BF8-48F1-A045-FF475D851AD1}"/>
              </a:ext>
            </a:extLst>
          </p:cNvPr>
          <p:cNvGrpSpPr/>
          <p:nvPr/>
        </p:nvGrpSpPr>
        <p:grpSpPr>
          <a:xfrm>
            <a:off x="585251" y="2673691"/>
            <a:ext cx="6688243" cy="576006"/>
            <a:chOff x="584200" y="2420375"/>
            <a:chExt cx="6688243" cy="576006"/>
          </a:xfrm>
        </p:grpSpPr>
        <p:sp>
          <p:nvSpPr>
            <p:cNvPr id="16" name="TextBox 15">
              <a:extLst>
                <a:ext uri="{FF2B5EF4-FFF2-40B4-BE49-F238E27FC236}">
                  <a16:creationId xmlns:a16="http://schemas.microsoft.com/office/drawing/2014/main" id="{774F1AD5-CE8E-48D7-986C-D56D223E2999}"/>
                </a:ext>
              </a:extLst>
            </p:cNvPr>
            <p:cNvSpPr txBox="1"/>
            <p:nvPr/>
          </p:nvSpPr>
          <p:spPr>
            <a:xfrm>
              <a:off x="1340260" y="2462157"/>
              <a:ext cx="5932183" cy="492443"/>
            </a:xfrm>
            <a:prstGeom prst="rect">
              <a:avLst/>
            </a:prstGeom>
            <a:noFill/>
          </p:spPr>
          <p:txBody>
            <a:bodyPr wrap="square" lIns="0" tIns="0" rIns="0" bIns="0" anchor="ctr">
              <a:noAutofit/>
            </a:bodyPr>
            <a:lstStyle/>
            <a:p>
              <a:pPr marL="104775" marR="0" lvl="2" algn="l" defTabSz="896181" rtl="0" eaLnBrk="1" fontAlgn="auto" latinLnBrk="0" hangingPunct="1">
                <a:lnSpc>
                  <a:spcPct val="100000"/>
                </a:lnSpc>
                <a:spcBef>
                  <a:spcPts val="0"/>
                </a:spcBef>
                <a:spcAft>
                  <a:spcPts val="600"/>
                </a:spcAft>
                <a:buClrTx/>
                <a:buSzPct val="90000"/>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Leverage </a:t>
              </a:r>
              <a:r>
                <a:rPr lang="en-US" sz="1600">
                  <a:solidFill>
                    <a:srgbClr val="000000"/>
                  </a:solidFill>
                  <a:latin typeface="Segoe UI"/>
                  <a:cs typeface="Segoe UI" panose="020B0502040204020203" pitchFamily="34" charset="0"/>
                </a:rPr>
                <a:t>built-in </a:t>
              </a:r>
              <a:r>
                <a:rPr lang="en-US" sz="1600">
                  <a:solidFill>
                    <a:srgbClr val="000000"/>
                  </a:solidFill>
                  <a:latin typeface="Segoe UI"/>
                  <a:cs typeface="Segoe UI" panose="020B0502040204020203" pitchFamily="34" charset="0"/>
                  <a:hlinkClick r:id="rId3"/>
                </a:rPr>
                <a:t>Viva Learning reporting </a:t>
              </a:r>
              <a:r>
                <a:rPr lang="en-US" sz="1600">
                  <a:solidFill>
                    <a:srgbClr val="000000"/>
                  </a:solidFill>
                  <a:latin typeface="Segoe UI"/>
                  <a:cs typeface="Segoe UI" panose="020B0502040204020203" pitchFamily="34" charset="0"/>
                </a:rPr>
                <a:t>(available on the M365 admin center) to monitor product adoption and understand learning behavior in your organization</a:t>
              </a:r>
              <a:endParaRPr kumimoji="0" lang="en-US" sz="16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grpSp>
          <p:nvGrpSpPr>
            <p:cNvPr id="13" name="Group 12">
              <a:extLst>
                <a:ext uri="{FF2B5EF4-FFF2-40B4-BE49-F238E27FC236}">
                  <a16:creationId xmlns:a16="http://schemas.microsoft.com/office/drawing/2014/main" id="{7555C060-15FC-417C-8130-D3D7B73C3552}"/>
                </a:ext>
              </a:extLst>
            </p:cNvPr>
            <p:cNvGrpSpPr/>
            <p:nvPr/>
          </p:nvGrpSpPr>
          <p:grpSpPr>
            <a:xfrm>
              <a:off x="584200" y="2420375"/>
              <a:ext cx="576006" cy="576006"/>
              <a:chOff x="584200" y="2420375"/>
              <a:chExt cx="576006" cy="576006"/>
            </a:xfrm>
          </p:grpSpPr>
          <p:sp>
            <p:nvSpPr>
              <p:cNvPr id="29" name="Oval 28">
                <a:extLst>
                  <a:ext uri="{FF2B5EF4-FFF2-40B4-BE49-F238E27FC236}">
                    <a16:creationId xmlns:a16="http://schemas.microsoft.com/office/drawing/2014/main" id="{6B1EF634-0300-4725-8590-13F2AE2F12D9}"/>
                  </a:ext>
                </a:extLst>
              </p:cNvPr>
              <p:cNvSpPr>
                <a:spLocks/>
              </p:cNvSpPr>
              <p:nvPr/>
            </p:nvSpPr>
            <p:spPr bwMode="auto">
              <a:xfrm>
                <a:off x="584200" y="2420375"/>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FF9E83B7-7F4A-413D-A8DE-9182A5331620}"/>
                  </a:ext>
                </a:extLst>
              </p:cNvPr>
              <p:cNvSpPr/>
              <p:nvPr/>
            </p:nvSpPr>
            <p:spPr bwMode="auto">
              <a:xfrm>
                <a:off x="640205" y="2476381"/>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1</a:t>
                </a:r>
              </a:p>
            </p:txBody>
          </p:sp>
        </p:grpSp>
      </p:grp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588263" y="457200"/>
            <a:ext cx="11018520" cy="553998"/>
          </a:xfrm>
        </p:spPr>
        <p:txBody>
          <a:bodyPr/>
          <a:lstStyle/>
          <a:p>
            <a:r>
              <a:rPr lang="en-US"/>
              <a:t>Gather insights</a:t>
            </a:r>
          </a:p>
        </p:txBody>
      </p:sp>
      <p:sp>
        <p:nvSpPr>
          <p:cNvPr id="12" name="TextBox 11" hidden="1">
            <a:extLst>
              <a:ext uri="{FF2B5EF4-FFF2-40B4-BE49-F238E27FC236}">
                <a16:creationId xmlns:a16="http://schemas.microsoft.com/office/drawing/2014/main" id="{D77F9333-7AF2-4F86-BE3F-29FDDC1E5350}"/>
              </a:ext>
            </a:extLst>
          </p:cNvPr>
          <p:cNvSpPr txBox="1"/>
          <p:nvPr/>
        </p:nvSpPr>
        <p:spPr>
          <a:xfrm>
            <a:off x="312036" y="3126397"/>
            <a:ext cx="6960407" cy="246221"/>
          </a:xfrm>
          <a:prstGeom prst="rect">
            <a:avLst/>
          </a:prstGeom>
          <a:noFill/>
        </p:spPr>
        <p:txBody>
          <a:bodyPr wrap="square" lIns="0" tIns="0" rIns="0" bIns="0">
            <a:spAutoFit/>
          </a:bodyPr>
          <a:lstStyle/>
          <a:p>
            <a:endParaRPr lang="en-US" sz="1600">
              <a:latin typeface="Segoe UI" panose="020B0502040204020203" pitchFamily="34" charset="0"/>
            </a:endParaRPr>
          </a:p>
        </p:txBody>
      </p:sp>
      <p:sp>
        <p:nvSpPr>
          <p:cNvPr id="3" name="Rectangle: Top Corners Rounded 2">
            <a:extLst>
              <a:ext uri="{FF2B5EF4-FFF2-40B4-BE49-F238E27FC236}">
                <a16:creationId xmlns:a16="http://schemas.microsoft.com/office/drawing/2014/main" id="{565D4EF4-2406-43B8-880A-D7A9AD2AC860}"/>
              </a:ext>
            </a:extLst>
          </p:cNvPr>
          <p:cNvSpPr/>
          <p:nvPr/>
        </p:nvSpPr>
        <p:spPr bwMode="auto">
          <a:xfrm rot="5400000">
            <a:off x="3274243" y="-2192488"/>
            <a:ext cx="1238661" cy="7787148"/>
          </a:xfrm>
          <a:prstGeom prst="round2SameRect">
            <a:avLst>
              <a:gd name="adj1" fmla="val 6048"/>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4E82017E-A1D2-4168-8100-69349BB09A3C}"/>
              </a:ext>
            </a:extLst>
          </p:cNvPr>
          <p:cNvSpPr txBox="1"/>
          <p:nvPr/>
        </p:nvSpPr>
        <p:spPr>
          <a:xfrm>
            <a:off x="584200" y="1271450"/>
            <a:ext cx="6826249" cy="830997"/>
          </a:xfrm>
          <a:prstGeom prst="rect">
            <a:avLst/>
          </a:prstGeom>
          <a:noFill/>
        </p:spPr>
        <p:txBody>
          <a:bodyPr wrap="square" lIns="0" tIns="0" rIns="0" bIns="0">
            <a:spAutoFit/>
          </a:bodyPr>
          <a:lstStyle/>
          <a:p>
            <a:r>
              <a:rPr lang="en-US">
                <a:latin typeface="+mj-lt"/>
              </a:rPr>
              <a:t>Having a system of learning is a great opportunity to measure engagement with learning at your organization and the impacts of streamlined employee learning.</a:t>
            </a:r>
          </a:p>
        </p:txBody>
      </p:sp>
      <p:cxnSp>
        <p:nvCxnSpPr>
          <p:cNvPr id="39" name="Straight Connector 38">
            <a:extLst>
              <a:ext uri="{FF2B5EF4-FFF2-40B4-BE49-F238E27FC236}">
                <a16:creationId xmlns:a16="http://schemas.microsoft.com/office/drawing/2014/main" id="{100D639F-B27C-4939-935C-E06C0290B0DD}"/>
              </a:ext>
            </a:extLst>
          </p:cNvPr>
          <p:cNvCxnSpPr>
            <a:cxnSpLocks/>
          </p:cNvCxnSpPr>
          <p:nvPr/>
        </p:nvCxnSpPr>
        <p:spPr>
          <a:xfrm>
            <a:off x="1341311" y="3479837"/>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B289BD7-E454-4FA0-8BDB-B2A77BA87900}"/>
              </a:ext>
            </a:extLst>
          </p:cNvPr>
          <p:cNvCxnSpPr>
            <a:cxnSpLocks/>
          </p:cNvCxnSpPr>
          <p:nvPr/>
        </p:nvCxnSpPr>
        <p:spPr>
          <a:xfrm>
            <a:off x="1341311" y="4840865"/>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Rectangle: Single Corner Rounded 4">
            <a:extLst>
              <a:ext uri="{FF2B5EF4-FFF2-40B4-BE49-F238E27FC236}">
                <a16:creationId xmlns:a16="http://schemas.microsoft.com/office/drawing/2014/main" id="{87FED681-E743-4A4A-AE8E-A317F6EF35E3}"/>
              </a:ext>
            </a:extLst>
          </p:cNvPr>
          <p:cNvSpPr/>
          <p:nvPr/>
        </p:nvSpPr>
        <p:spPr bwMode="auto">
          <a:xfrm rot="10800000">
            <a:off x="7410450" y="-1"/>
            <a:ext cx="4781550" cy="6572250"/>
          </a:xfrm>
          <a:prstGeom prst="round1Rect">
            <a:avLst>
              <a:gd name="adj" fmla="val 325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21" name="Group 20">
            <a:extLst>
              <a:ext uri="{FF2B5EF4-FFF2-40B4-BE49-F238E27FC236}">
                <a16:creationId xmlns:a16="http://schemas.microsoft.com/office/drawing/2014/main" id="{ABABD593-0FBD-44B2-9C43-F1EBB6960711}"/>
              </a:ext>
            </a:extLst>
          </p:cNvPr>
          <p:cNvGrpSpPr/>
          <p:nvPr/>
        </p:nvGrpSpPr>
        <p:grpSpPr>
          <a:xfrm>
            <a:off x="584200" y="5048220"/>
            <a:ext cx="6769194" cy="576006"/>
            <a:chOff x="584200" y="4789667"/>
            <a:chExt cx="6769194" cy="576006"/>
          </a:xfrm>
        </p:grpSpPr>
        <p:sp>
          <p:nvSpPr>
            <p:cNvPr id="19" name="TextBox 18">
              <a:extLst>
                <a:ext uri="{FF2B5EF4-FFF2-40B4-BE49-F238E27FC236}">
                  <a16:creationId xmlns:a16="http://schemas.microsoft.com/office/drawing/2014/main" id="{2F9C1A86-E42B-414E-9D48-A4023C5242B1}"/>
                </a:ext>
              </a:extLst>
            </p:cNvPr>
            <p:cNvSpPr txBox="1"/>
            <p:nvPr/>
          </p:nvSpPr>
          <p:spPr>
            <a:xfrm>
              <a:off x="1421211" y="4831448"/>
              <a:ext cx="5932183" cy="492443"/>
            </a:xfrm>
            <a:prstGeom prst="rect">
              <a:avLst/>
            </a:prstGeom>
            <a:noFill/>
          </p:spPr>
          <p:txBody>
            <a:bodyPr wrap="square" lIns="0" tIns="0" rIns="0" bIns="0" anchor="ctr">
              <a:noAutofit/>
            </a:bodyPr>
            <a:lstStyle/>
            <a:p>
              <a:r>
                <a:rPr lang="en-US" sz="1600"/>
                <a:t>Present trends and progress on KPIs identified earlier to leadership</a:t>
              </a:r>
            </a:p>
          </p:txBody>
        </p:sp>
        <p:grpSp>
          <p:nvGrpSpPr>
            <p:cNvPr id="8" name="Group 7">
              <a:extLst>
                <a:ext uri="{FF2B5EF4-FFF2-40B4-BE49-F238E27FC236}">
                  <a16:creationId xmlns:a16="http://schemas.microsoft.com/office/drawing/2014/main" id="{123B130B-FDAD-4D17-A920-6653E46FC1D2}"/>
                </a:ext>
              </a:extLst>
            </p:cNvPr>
            <p:cNvGrpSpPr/>
            <p:nvPr/>
          </p:nvGrpSpPr>
          <p:grpSpPr>
            <a:xfrm>
              <a:off x="584200" y="4789667"/>
              <a:ext cx="576006" cy="576006"/>
              <a:chOff x="584200" y="4789667"/>
              <a:chExt cx="576006" cy="576006"/>
            </a:xfrm>
          </p:grpSpPr>
          <p:sp>
            <p:nvSpPr>
              <p:cNvPr id="32" name="Oval 31">
                <a:extLst>
                  <a:ext uri="{FF2B5EF4-FFF2-40B4-BE49-F238E27FC236}">
                    <a16:creationId xmlns:a16="http://schemas.microsoft.com/office/drawing/2014/main" id="{79FC9FF9-13E7-44F9-A67E-175D3C46E9E0}"/>
                  </a:ext>
                </a:extLst>
              </p:cNvPr>
              <p:cNvSpPr>
                <a:spLocks/>
              </p:cNvSpPr>
              <p:nvPr/>
            </p:nvSpPr>
            <p:spPr bwMode="auto">
              <a:xfrm>
                <a:off x="584200" y="4789667"/>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6" name="Oval 35">
                <a:extLst>
                  <a:ext uri="{FF2B5EF4-FFF2-40B4-BE49-F238E27FC236}">
                    <a16:creationId xmlns:a16="http://schemas.microsoft.com/office/drawing/2014/main" id="{5BFF691C-2CE4-408F-8799-83A0608666D0}"/>
                  </a:ext>
                </a:extLst>
              </p:cNvPr>
              <p:cNvSpPr/>
              <p:nvPr/>
            </p:nvSpPr>
            <p:spPr bwMode="auto">
              <a:xfrm>
                <a:off x="640205" y="4845673"/>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3</a:t>
                </a:r>
              </a:p>
            </p:txBody>
          </p:sp>
        </p:grpSp>
      </p:grpSp>
      <p:pic>
        <p:nvPicPr>
          <p:cNvPr id="2050" name="Picture 2" descr="M365CO19_SMB_102">
            <a:extLst>
              <a:ext uri="{FF2B5EF4-FFF2-40B4-BE49-F238E27FC236}">
                <a16:creationId xmlns:a16="http://schemas.microsoft.com/office/drawing/2014/main" id="{596E3777-C932-4DCC-802C-22D1002E8D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983" t="2890" r="42477"/>
          <a:stretch/>
        </p:blipFill>
        <p:spPr bwMode="auto">
          <a:xfrm>
            <a:off x="7590504" y="0"/>
            <a:ext cx="4601496" cy="6400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392972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588263" y="457200"/>
            <a:ext cx="11018520" cy="553998"/>
          </a:xfrm>
        </p:spPr>
        <p:txBody>
          <a:bodyPr/>
          <a:lstStyle/>
          <a:p>
            <a:r>
              <a:rPr lang="en-US"/>
              <a:t>Monitor satisfaction</a:t>
            </a:r>
          </a:p>
        </p:txBody>
      </p:sp>
      <p:sp>
        <p:nvSpPr>
          <p:cNvPr id="12" name="TextBox 11" hidden="1">
            <a:extLst>
              <a:ext uri="{FF2B5EF4-FFF2-40B4-BE49-F238E27FC236}">
                <a16:creationId xmlns:a16="http://schemas.microsoft.com/office/drawing/2014/main" id="{D77F9333-7AF2-4F86-BE3F-29FDDC1E5350}"/>
              </a:ext>
            </a:extLst>
          </p:cNvPr>
          <p:cNvSpPr txBox="1"/>
          <p:nvPr/>
        </p:nvSpPr>
        <p:spPr>
          <a:xfrm>
            <a:off x="312036" y="3126397"/>
            <a:ext cx="6960407" cy="246221"/>
          </a:xfrm>
          <a:prstGeom prst="rect">
            <a:avLst/>
          </a:prstGeom>
          <a:noFill/>
        </p:spPr>
        <p:txBody>
          <a:bodyPr wrap="square" lIns="0" tIns="0" rIns="0" bIns="0">
            <a:spAutoFit/>
          </a:bodyPr>
          <a:lstStyle/>
          <a:p>
            <a:endParaRPr lang="en-US" sz="1600">
              <a:latin typeface="Segoe UI" panose="020B0502040204020203" pitchFamily="34" charset="0"/>
            </a:endParaRPr>
          </a:p>
        </p:txBody>
      </p:sp>
      <p:sp>
        <p:nvSpPr>
          <p:cNvPr id="3" name="Rectangle: Top Corners Rounded 2">
            <a:extLst>
              <a:ext uri="{FF2B5EF4-FFF2-40B4-BE49-F238E27FC236}">
                <a16:creationId xmlns:a16="http://schemas.microsoft.com/office/drawing/2014/main" id="{565D4EF4-2406-43B8-880A-D7A9AD2AC860}"/>
              </a:ext>
            </a:extLst>
          </p:cNvPr>
          <p:cNvSpPr/>
          <p:nvPr/>
        </p:nvSpPr>
        <p:spPr bwMode="auto">
          <a:xfrm rot="5400000">
            <a:off x="3274243" y="-2192488"/>
            <a:ext cx="1238661" cy="7787148"/>
          </a:xfrm>
          <a:prstGeom prst="round2SameRect">
            <a:avLst>
              <a:gd name="adj1" fmla="val 6048"/>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11" name="TextBox 10">
            <a:extLst>
              <a:ext uri="{FF2B5EF4-FFF2-40B4-BE49-F238E27FC236}">
                <a16:creationId xmlns:a16="http://schemas.microsoft.com/office/drawing/2014/main" id="{4E82017E-A1D2-4168-8100-69349BB09A3C}"/>
              </a:ext>
            </a:extLst>
          </p:cNvPr>
          <p:cNvSpPr txBox="1"/>
          <p:nvPr/>
        </p:nvSpPr>
        <p:spPr>
          <a:xfrm>
            <a:off x="584200" y="1147088"/>
            <a:ext cx="6826249" cy="1107996"/>
          </a:xfrm>
          <a:prstGeom prst="rect">
            <a:avLst/>
          </a:prstGeom>
          <a:noFill/>
        </p:spPr>
        <p:txBody>
          <a:bodyPr wrap="square" lIns="0" tIns="0" rIns="0" bIns="0">
            <a:spAutoFit/>
          </a:bodyPr>
          <a:lstStyle/>
          <a:p>
            <a:r>
              <a:rPr lang="en-US">
                <a:latin typeface="+mj-lt"/>
              </a:rPr>
              <a:t>Surveys are a great tool to gather data about user sentiment toward Microsoft Viva Learning. The results can help you determine the success of the rollout and get you thinking about necessary next steps.</a:t>
            </a:r>
          </a:p>
        </p:txBody>
      </p:sp>
      <p:cxnSp>
        <p:nvCxnSpPr>
          <p:cNvPr id="37" name="Straight Connector 36">
            <a:extLst>
              <a:ext uri="{FF2B5EF4-FFF2-40B4-BE49-F238E27FC236}">
                <a16:creationId xmlns:a16="http://schemas.microsoft.com/office/drawing/2014/main" id="{80D2DC0C-AFE9-41F5-8DFF-C8A4997D878B}"/>
              </a:ext>
            </a:extLst>
          </p:cNvPr>
          <p:cNvCxnSpPr>
            <a:cxnSpLocks/>
          </p:cNvCxnSpPr>
          <p:nvPr/>
        </p:nvCxnSpPr>
        <p:spPr>
          <a:xfrm>
            <a:off x="1340260" y="3227721"/>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0111F4C-9932-4442-AE88-5321D619598D}"/>
              </a:ext>
            </a:extLst>
          </p:cNvPr>
          <p:cNvCxnSpPr>
            <a:cxnSpLocks/>
          </p:cNvCxnSpPr>
          <p:nvPr/>
        </p:nvCxnSpPr>
        <p:spPr>
          <a:xfrm>
            <a:off x="1340260" y="4001026"/>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00D639F-B27C-4939-935C-E06C0290B0DD}"/>
              </a:ext>
            </a:extLst>
          </p:cNvPr>
          <p:cNvCxnSpPr>
            <a:cxnSpLocks/>
          </p:cNvCxnSpPr>
          <p:nvPr/>
        </p:nvCxnSpPr>
        <p:spPr>
          <a:xfrm>
            <a:off x="1340260" y="4900701"/>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B289BD7-E454-4FA0-8BDB-B2A77BA87900}"/>
              </a:ext>
            </a:extLst>
          </p:cNvPr>
          <p:cNvCxnSpPr>
            <a:cxnSpLocks/>
          </p:cNvCxnSpPr>
          <p:nvPr/>
        </p:nvCxnSpPr>
        <p:spPr>
          <a:xfrm>
            <a:off x="1340260" y="5737191"/>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B4BB695A-C948-43DE-AF58-194F321C38C2}"/>
              </a:ext>
            </a:extLst>
          </p:cNvPr>
          <p:cNvGrpSpPr/>
          <p:nvPr/>
        </p:nvGrpSpPr>
        <p:grpSpPr>
          <a:xfrm>
            <a:off x="7410450" y="-1"/>
            <a:ext cx="4781551" cy="6572250"/>
            <a:chOff x="7410450" y="-1"/>
            <a:chExt cx="4781551" cy="6572250"/>
          </a:xfrm>
        </p:grpSpPr>
        <p:sp>
          <p:nvSpPr>
            <p:cNvPr id="5" name="Rectangle: Single Corner Rounded 4">
              <a:extLst>
                <a:ext uri="{FF2B5EF4-FFF2-40B4-BE49-F238E27FC236}">
                  <a16:creationId xmlns:a16="http://schemas.microsoft.com/office/drawing/2014/main" id="{87FED681-E743-4A4A-AE8E-A317F6EF35E3}"/>
                </a:ext>
              </a:extLst>
            </p:cNvPr>
            <p:cNvSpPr/>
            <p:nvPr/>
          </p:nvSpPr>
          <p:spPr bwMode="auto">
            <a:xfrm rot="10800000">
              <a:off x="7410450" y="-1"/>
              <a:ext cx="4781550" cy="6572250"/>
            </a:xfrm>
            <a:prstGeom prst="round1Rect">
              <a:avLst>
                <a:gd name="adj" fmla="val 325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5" name="Picture 14" descr="Colleagues discussing ideas in a modern office">
              <a:extLst>
                <a:ext uri="{FF2B5EF4-FFF2-40B4-BE49-F238E27FC236}">
                  <a16:creationId xmlns:a16="http://schemas.microsoft.com/office/drawing/2014/main" id="{A3717D74-C4EA-42F3-B85C-35009558F3F8}"/>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3561" t="23561" r="45859" b="206"/>
            <a:stretch/>
          </p:blipFill>
          <p:spPr>
            <a:xfrm>
              <a:off x="7590504" y="0"/>
              <a:ext cx="4601497" cy="6400800"/>
            </a:xfrm>
            <a:custGeom>
              <a:avLst/>
              <a:gdLst>
                <a:gd name="connsiteX0" fmla="*/ 0 w 4601497"/>
                <a:gd name="connsiteY0" fmla="*/ 0 h 6400800"/>
                <a:gd name="connsiteX1" fmla="*/ 4601497 w 4601497"/>
                <a:gd name="connsiteY1" fmla="*/ 0 h 6400800"/>
                <a:gd name="connsiteX2" fmla="*/ 4601497 w 4601497"/>
                <a:gd name="connsiteY2" fmla="*/ 6400800 h 6400800"/>
                <a:gd name="connsiteX3" fmla="*/ 0 w 4601497"/>
                <a:gd name="connsiteY3" fmla="*/ 6400800 h 6400800"/>
              </a:gdLst>
              <a:ahLst/>
              <a:cxnLst>
                <a:cxn ang="0">
                  <a:pos x="connsiteX0" y="connsiteY0"/>
                </a:cxn>
                <a:cxn ang="0">
                  <a:pos x="connsiteX1" y="connsiteY1"/>
                </a:cxn>
                <a:cxn ang="0">
                  <a:pos x="connsiteX2" y="connsiteY2"/>
                </a:cxn>
                <a:cxn ang="0">
                  <a:pos x="connsiteX3" y="connsiteY3"/>
                </a:cxn>
              </a:cxnLst>
              <a:rect l="l" t="t" r="r" b="b"/>
              <a:pathLst>
                <a:path w="4601497" h="6400800">
                  <a:moveTo>
                    <a:pt x="0" y="0"/>
                  </a:moveTo>
                  <a:lnTo>
                    <a:pt x="4601497" y="0"/>
                  </a:lnTo>
                  <a:lnTo>
                    <a:pt x="4601497" y="6400800"/>
                  </a:lnTo>
                  <a:lnTo>
                    <a:pt x="0" y="6400800"/>
                  </a:lnTo>
                  <a:close/>
                </a:path>
              </a:pathLst>
            </a:custGeom>
          </p:spPr>
        </p:pic>
      </p:grpSp>
      <p:grpSp>
        <p:nvGrpSpPr>
          <p:cNvPr id="24" name="Group 23">
            <a:extLst>
              <a:ext uri="{FF2B5EF4-FFF2-40B4-BE49-F238E27FC236}">
                <a16:creationId xmlns:a16="http://schemas.microsoft.com/office/drawing/2014/main" id="{AEE09FB7-1BF8-48F1-A045-FF475D851AD1}"/>
              </a:ext>
            </a:extLst>
          </p:cNvPr>
          <p:cNvGrpSpPr/>
          <p:nvPr/>
        </p:nvGrpSpPr>
        <p:grpSpPr>
          <a:xfrm>
            <a:off x="584200" y="2521473"/>
            <a:ext cx="6688243" cy="576006"/>
            <a:chOff x="584200" y="2420375"/>
            <a:chExt cx="6688243" cy="576006"/>
          </a:xfrm>
        </p:grpSpPr>
        <p:sp>
          <p:nvSpPr>
            <p:cNvPr id="16" name="TextBox 15">
              <a:extLst>
                <a:ext uri="{FF2B5EF4-FFF2-40B4-BE49-F238E27FC236}">
                  <a16:creationId xmlns:a16="http://schemas.microsoft.com/office/drawing/2014/main" id="{774F1AD5-CE8E-48D7-986C-D56D223E2999}"/>
                </a:ext>
              </a:extLst>
            </p:cNvPr>
            <p:cNvSpPr txBox="1"/>
            <p:nvPr/>
          </p:nvSpPr>
          <p:spPr>
            <a:xfrm>
              <a:off x="1340260" y="2462157"/>
              <a:ext cx="5932183" cy="492443"/>
            </a:xfrm>
            <a:prstGeom prst="rect">
              <a:avLst/>
            </a:prstGeom>
            <a:noFill/>
          </p:spPr>
          <p:txBody>
            <a:bodyPr wrap="square" lIns="0" tIns="0" rIns="0" bIns="0" anchor="ctr">
              <a:noAutofit/>
            </a:bodyPr>
            <a:lstStyle/>
            <a:p>
              <a:r>
                <a:rPr lang="en-US" sz="1600"/>
                <a:t>Circulate a baseline survey shortly before users begin using Microsoft Viva Learning</a:t>
              </a:r>
            </a:p>
          </p:txBody>
        </p:sp>
        <p:grpSp>
          <p:nvGrpSpPr>
            <p:cNvPr id="13" name="Group 12">
              <a:extLst>
                <a:ext uri="{FF2B5EF4-FFF2-40B4-BE49-F238E27FC236}">
                  <a16:creationId xmlns:a16="http://schemas.microsoft.com/office/drawing/2014/main" id="{7555C060-15FC-417C-8130-D3D7B73C3552}"/>
                </a:ext>
              </a:extLst>
            </p:cNvPr>
            <p:cNvGrpSpPr/>
            <p:nvPr/>
          </p:nvGrpSpPr>
          <p:grpSpPr>
            <a:xfrm>
              <a:off x="584200" y="2420375"/>
              <a:ext cx="576006" cy="576006"/>
              <a:chOff x="584200" y="2420375"/>
              <a:chExt cx="576006" cy="576006"/>
            </a:xfrm>
          </p:grpSpPr>
          <p:sp>
            <p:nvSpPr>
              <p:cNvPr id="29" name="Oval 28">
                <a:extLst>
                  <a:ext uri="{FF2B5EF4-FFF2-40B4-BE49-F238E27FC236}">
                    <a16:creationId xmlns:a16="http://schemas.microsoft.com/office/drawing/2014/main" id="{6B1EF634-0300-4725-8590-13F2AE2F12D9}"/>
                  </a:ext>
                </a:extLst>
              </p:cNvPr>
              <p:cNvSpPr>
                <a:spLocks/>
              </p:cNvSpPr>
              <p:nvPr/>
            </p:nvSpPr>
            <p:spPr bwMode="auto">
              <a:xfrm>
                <a:off x="584200" y="2420375"/>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 name="Oval 5">
                <a:extLst>
                  <a:ext uri="{FF2B5EF4-FFF2-40B4-BE49-F238E27FC236}">
                    <a16:creationId xmlns:a16="http://schemas.microsoft.com/office/drawing/2014/main" id="{FF9E83B7-7F4A-413D-A8DE-9182A5331620}"/>
                  </a:ext>
                </a:extLst>
              </p:cNvPr>
              <p:cNvSpPr/>
              <p:nvPr/>
            </p:nvSpPr>
            <p:spPr bwMode="auto">
              <a:xfrm>
                <a:off x="640205" y="2476381"/>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1</a:t>
                </a:r>
              </a:p>
            </p:txBody>
          </p:sp>
        </p:grpSp>
      </p:grpSp>
      <p:grpSp>
        <p:nvGrpSpPr>
          <p:cNvPr id="23" name="Group 22">
            <a:extLst>
              <a:ext uri="{FF2B5EF4-FFF2-40B4-BE49-F238E27FC236}">
                <a16:creationId xmlns:a16="http://schemas.microsoft.com/office/drawing/2014/main" id="{57318D9D-4441-4BF5-B50B-C6967D4C67A2}"/>
              </a:ext>
            </a:extLst>
          </p:cNvPr>
          <p:cNvGrpSpPr/>
          <p:nvPr/>
        </p:nvGrpSpPr>
        <p:grpSpPr>
          <a:xfrm>
            <a:off x="584200" y="3357963"/>
            <a:ext cx="6688243" cy="576006"/>
            <a:chOff x="584200" y="3210139"/>
            <a:chExt cx="6688243" cy="576006"/>
          </a:xfrm>
        </p:grpSpPr>
        <p:sp>
          <p:nvSpPr>
            <p:cNvPr id="17" name="TextBox 16">
              <a:extLst>
                <a:ext uri="{FF2B5EF4-FFF2-40B4-BE49-F238E27FC236}">
                  <a16:creationId xmlns:a16="http://schemas.microsoft.com/office/drawing/2014/main" id="{C4132C4F-4E0C-4BB6-B151-844EDB6430CA}"/>
                </a:ext>
              </a:extLst>
            </p:cNvPr>
            <p:cNvSpPr txBox="1"/>
            <p:nvPr/>
          </p:nvSpPr>
          <p:spPr>
            <a:xfrm>
              <a:off x="1340260" y="3251921"/>
              <a:ext cx="5932183" cy="492443"/>
            </a:xfrm>
            <a:prstGeom prst="rect">
              <a:avLst/>
            </a:prstGeom>
            <a:noFill/>
          </p:spPr>
          <p:txBody>
            <a:bodyPr wrap="square" lIns="0" tIns="0" rIns="0" bIns="0" anchor="ctr">
              <a:noAutofit/>
            </a:bodyPr>
            <a:lstStyle/>
            <a:p>
              <a:r>
                <a:rPr lang="en-US" sz="1600"/>
                <a:t>Conduct a survey halfway through launch to gather data about users’ experiences</a:t>
              </a:r>
            </a:p>
          </p:txBody>
        </p:sp>
        <p:grpSp>
          <p:nvGrpSpPr>
            <p:cNvPr id="10" name="Group 9">
              <a:extLst>
                <a:ext uri="{FF2B5EF4-FFF2-40B4-BE49-F238E27FC236}">
                  <a16:creationId xmlns:a16="http://schemas.microsoft.com/office/drawing/2014/main" id="{AC549941-C6FD-4EE5-A5FB-B87C50185B84}"/>
                </a:ext>
              </a:extLst>
            </p:cNvPr>
            <p:cNvGrpSpPr/>
            <p:nvPr/>
          </p:nvGrpSpPr>
          <p:grpSpPr>
            <a:xfrm>
              <a:off x="584200" y="3210139"/>
              <a:ext cx="576006" cy="576006"/>
              <a:chOff x="584200" y="3210139"/>
              <a:chExt cx="576006" cy="576006"/>
            </a:xfrm>
          </p:grpSpPr>
          <p:sp>
            <p:nvSpPr>
              <p:cNvPr id="30" name="Oval 29">
                <a:extLst>
                  <a:ext uri="{FF2B5EF4-FFF2-40B4-BE49-F238E27FC236}">
                    <a16:creationId xmlns:a16="http://schemas.microsoft.com/office/drawing/2014/main" id="{DB93EF43-549A-47D5-9D9D-DA4416427C24}"/>
                  </a:ext>
                </a:extLst>
              </p:cNvPr>
              <p:cNvSpPr>
                <a:spLocks/>
              </p:cNvSpPr>
              <p:nvPr/>
            </p:nvSpPr>
            <p:spPr bwMode="auto">
              <a:xfrm>
                <a:off x="584200" y="3210139"/>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4" name="Oval 33">
                <a:extLst>
                  <a:ext uri="{FF2B5EF4-FFF2-40B4-BE49-F238E27FC236}">
                    <a16:creationId xmlns:a16="http://schemas.microsoft.com/office/drawing/2014/main" id="{6A66E556-D5BA-4706-A86D-8CD260B2CD4A}"/>
                  </a:ext>
                </a:extLst>
              </p:cNvPr>
              <p:cNvSpPr/>
              <p:nvPr/>
            </p:nvSpPr>
            <p:spPr bwMode="auto">
              <a:xfrm>
                <a:off x="640205" y="3269605"/>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2</a:t>
                </a:r>
              </a:p>
            </p:txBody>
          </p:sp>
        </p:grpSp>
      </p:grpSp>
      <p:grpSp>
        <p:nvGrpSpPr>
          <p:cNvPr id="22" name="Group 21">
            <a:extLst>
              <a:ext uri="{FF2B5EF4-FFF2-40B4-BE49-F238E27FC236}">
                <a16:creationId xmlns:a16="http://schemas.microsoft.com/office/drawing/2014/main" id="{81B21456-BA5E-492E-B57A-C5DC94CA541C}"/>
              </a:ext>
            </a:extLst>
          </p:cNvPr>
          <p:cNvGrpSpPr/>
          <p:nvPr/>
        </p:nvGrpSpPr>
        <p:grpSpPr>
          <a:xfrm>
            <a:off x="584200" y="4194453"/>
            <a:ext cx="6688243" cy="576006"/>
            <a:chOff x="584200" y="3999903"/>
            <a:chExt cx="6688243" cy="576006"/>
          </a:xfrm>
        </p:grpSpPr>
        <p:sp>
          <p:nvSpPr>
            <p:cNvPr id="18" name="TextBox 17">
              <a:extLst>
                <a:ext uri="{FF2B5EF4-FFF2-40B4-BE49-F238E27FC236}">
                  <a16:creationId xmlns:a16="http://schemas.microsoft.com/office/drawing/2014/main" id="{3F40E9C6-F34E-4F33-851F-50B5B67C4C66}"/>
                </a:ext>
              </a:extLst>
            </p:cNvPr>
            <p:cNvSpPr txBox="1"/>
            <p:nvPr/>
          </p:nvSpPr>
          <p:spPr>
            <a:xfrm>
              <a:off x="1340260" y="4041685"/>
              <a:ext cx="5932183" cy="492443"/>
            </a:xfrm>
            <a:prstGeom prst="rect">
              <a:avLst/>
            </a:prstGeom>
            <a:noFill/>
          </p:spPr>
          <p:txBody>
            <a:bodyPr wrap="square" lIns="0" tIns="0" rIns="0" bIns="0" anchor="ctr">
              <a:noAutofit/>
            </a:bodyPr>
            <a:lstStyle/>
            <a:p>
              <a:r>
                <a:rPr lang="en-US" sz="1600"/>
                <a:t>Use the results to make any necessary adjustments </a:t>
              </a:r>
            </a:p>
          </p:txBody>
        </p:sp>
        <p:grpSp>
          <p:nvGrpSpPr>
            <p:cNvPr id="9" name="Group 8">
              <a:extLst>
                <a:ext uri="{FF2B5EF4-FFF2-40B4-BE49-F238E27FC236}">
                  <a16:creationId xmlns:a16="http://schemas.microsoft.com/office/drawing/2014/main" id="{CFAC8DDE-AF61-4346-945D-F54F3FE4F2DD}"/>
                </a:ext>
              </a:extLst>
            </p:cNvPr>
            <p:cNvGrpSpPr/>
            <p:nvPr/>
          </p:nvGrpSpPr>
          <p:grpSpPr>
            <a:xfrm>
              <a:off x="584200" y="3999903"/>
              <a:ext cx="576006" cy="576006"/>
              <a:chOff x="584200" y="3999903"/>
              <a:chExt cx="576006" cy="576006"/>
            </a:xfrm>
          </p:grpSpPr>
          <p:sp>
            <p:nvSpPr>
              <p:cNvPr id="31" name="Oval 30">
                <a:extLst>
                  <a:ext uri="{FF2B5EF4-FFF2-40B4-BE49-F238E27FC236}">
                    <a16:creationId xmlns:a16="http://schemas.microsoft.com/office/drawing/2014/main" id="{882843CC-5A74-451F-BD81-C9FCE2DCC08F}"/>
                  </a:ext>
                </a:extLst>
              </p:cNvPr>
              <p:cNvSpPr>
                <a:spLocks/>
              </p:cNvSpPr>
              <p:nvPr/>
            </p:nvSpPr>
            <p:spPr bwMode="auto">
              <a:xfrm>
                <a:off x="584200" y="3999903"/>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5" name="Oval 34">
                <a:extLst>
                  <a:ext uri="{FF2B5EF4-FFF2-40B4-BE49-F238E27FC236}">
                    <a16:creationId xmlns:a16="http://schemas.microsoft.com/office/drawing/2014/main" id="{160781D7-B4DB-426E-B3F0-28E5C7EB3E1A}"/>
                  </a:ext>
                </a:extLst>
              </p:cNvPr>
              <p:cNvSpPr/>
              <p:nvPr/>
            </p:nvSpPr>
            <p:spPr bwMode="auto">
              <a:xfrm>
                <a:off x="640205" y="4052637"/>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3</a:t>
                </a:r>
              </a:p>
            </p:txBody>
          </p:sp>
        </p:grpSp>
      </p:grpSp>
      <p:grpSp>
        <p:nvGrpSpPr>
          <p:cNvPr id="21" name="Group 20">
            <a:extLst>
              <a:ext uri="{FF2B5EF4-FFF2-40B4-BE49-F238E27FC236}">
                <a16:creationId xmlns:a16="http://schemas.microsoft.com/office/drawing/2014/main" id="{ABABD593-0FBD-44B2-9C43-F1EBB6960711}"/>
              </a:ext>
            </a:extLst>
          </p:cNvPr>
          <p:cNvGrpSpPr/>
          <p:nvPr/>
        </p:nvGrpSpPr>
        <p:grpSpPr>
          <a:xfrm>
            <a:off x="584200" y="5030943"/>
            <a:ext cx="6688243" cy="576006"/>
            <a:chOff x="584200" y="4789667"/>
            <a:chExt cx="6688243" cy="576006"/>
          </a:xfrm>
        </p:grpSpPr>
        <p:sp>
          <p:nvSpPr>
            <p:cNvPr id="19" name="TextBox 18">
              <a:extLst>
                <a:ext uri="{FF2B5EF4-FFF2-40B4-BE49-F238E27FC236}">
                  <a16:creationId xmlns:a16="http://schemas.microsoft.com/office/drawing/2014/main" id="{2F9C1A86-E42B-414E-9D48-A4023C5242B1}"/>
                </a:ext>
              </a:extLst>
            </p:cNvPr>
            <p:cNvSpPr txBox="1"/>
            <p:nvPr/>
          </p:nvSpPr>
          <p:spPr>
            <a:xfrm>
              <a:off x="1340260" y="4831449"/>
              <a:ext cx="5932183" cy="492443"/>
            </a:xfrm>
            <a:prstGeom prst="rect">
              <a:avLst/>
            </a:prstGeom>
            <a:noFill/>
          </p:spPr>
          <p:txBody>
            <a:bodyPr wrap="square" lIns="0" tIns="0" rIns="0" bIns="0" anchor="ctr">
              <a:noAutofit/>
            </a:bodyPr>
            <a:lstStyle/>
            <a:p>
              <a:r>
                <a:rPr lang="en-US" sz="1600"/>
                <a:t>Create new awareness or training content to address outstanding needs that arise</a:t>
              </a:r>
            </a:p>
          </p:txBody>
        </p:sp>
        <p:grpSp>
          <p:nvGrpSpPr>
            <p:cNvPr id="8" name="Group 7">
              <a:extLst>
                <a:ext uri="{FF2B5EF4-FFF2-40B4-BE49-F238E27FC236}">
                  <a16:creationId xmlns:a16="http://schemas.microsoft.com/office/drawing/2014/main" id="{123B130B-FDAD-4D17-A920-6653E46FC1D2}"/>
                </a:ext>
              </a:extLst>
            </p:cNvPr>
            <p:cNvGrpSpPr/>
            <p:nvPr/>
          </p:nvGrpSpPr>
          <p:grpSpPr>
            <a:xfrm>
              <a:off x="584200" y="4789667"/>
              <a:ext cx="576006" cy="576006"/>
              <a:chOff x="584200" y="4789667"/>
              <a:chExt cx="576006" cy="576006"/>
            </a:xfrm>
          </p:grpSpPr>
          <p:sp>
            <p:nvSpPr>
              <p:cNvPr id="32" name="Oval 31">
                <a:extLst>
                  <a:ext uri="{FF2B5EF4-FFF2-40B4-BE49-F238E27FC236}">
                    <a16:creationId xmlns:a16="http://schemas.microsoft.com/office/drawing/2014/main" id="{79FC9FF9-13E7-44F9-A67E-175D3C46E9E0}"/>
                  </a:ext>
                </a:extLst>
              </p:cNvPr>
              <p:cNvSpPr>
                <a:spLocks/>
              </p:cNvSpPr>
              <p:nvPr/>
            </p:nvSpPr>
            <p:spPr bwMode="auto">
              <a:xfrm>
                <a:off x="584200" y="4789667"/>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6" name="Oval 35">
                <a:extLst>
                  <a:ext uri="{FF2B5EF4-FFF2-40B4-BE49-F238E27FC236}">
                    <a16:creationId xmlns:a16="http://schemas.microsoft.com/office/drawing/2014/main" id="{5BFF691C-2CE4-408F-8799-83A0608666D0}"/>
                  </a:ext>
                </a:extLst>
              </p:cNvPr>
              <p:cNvSpPr/>
              <p:nvPr/>
            </p:nvSpPr>
            <p:spPr bwMode="auto">
              <a:xfrm>
                <a:off x="640205" y="4845673"/>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4</a:t>
                </a:r>
              </a:p>
            </p:txBody>
          </p:sp>
        </p:grpSp>
      </p:grpSp>
      <p:grpSp>
        <p:nvGrpSpPr>
          <p:cNvPr id="14" name="Group 13">
            <a:extLst>
              <a:ext uri="{FF2B5EF4-FFF2-40B4-BE49-F238E27FC236}">
                <a16:creationId xmlns:a16="http://schemas.microsoft.com/office/drawing/2014/main" id="{7C0F7150-A9C9-4C60-AF6B-5AF4E76FB365}"/>
              </a:ext>
            </a:extLst>
          </p:cNvPr>
          <p:cNvGrpSpPr/>
          <p:nvPr/>
        </p:nvGrpSpPr>
        <p:grpSpPr>
          <a:xfrm>
            <a:off x="584200" y="5867433"/>
            <a:ext cx="6688243" cy="576006"/>
            <a:chOff x="584200" y="5867433"/>
            <a:chExt cx="6688243" cy="576006"/>
          </a:xfrm>
        </p:grpSpPr>
        <p:sp>
          <p:nvSpPr>
            <p:cNvPr id="20" name="TextBox 19">
              <a:extLst>
                <a:ext uri="{FF2B5EF4-FFF2-40B4-BE49-F238E27FC236}">
                  <a16:creationId xmlns:a16="http://schemas.microsoft.com/office/drawing/2014/main" id="{B962DE10-556D-44CB-97C6-9B0D125338B8}"/>
                </a:ext>
              </a:extLst>
            </p:cNvPr>
            <p:cNvSpPr txBox="1"/>
            <p:nvPr/>
          </p:nvSpPr>
          <p:spPr>
            <a:xfrm>
              <a:off x="1340260" y="5888323"/>
              <a:ext cx="5932183" cy="534226"/>
            </a:xfrm>
            <a:prstGeom prst="rect">
              <a:avLst/>
            </a:prstGeom>
            <a:noFill/>
          </p:spPr>
          <p:txBody>
            <a:bodyPr wrap="square" lIns="0" tIns="0" rIns="0" bIns="0" anchor="ctr">
              <a:noAutofit/>
            </a:bodyPr>
            <a:lstStyle/>
            <a:p>
              <a:r>
                <a:rPr lang="en-US" sz="1600"/>
                <a:t>Release final survey 90 days after launch, and then in quarterly increments, to help measure user satisfaction and productivity</a:t>
              </a:r>
            </a:p>
          </p:txBody>
        </p:sp>
        <p:grpSp>
          <p:nvGrpSpPr>
            <p:cNvPr id="7" name="Group 6">
              <a:extLst>
                <a:ext uri="{FF2B5EF4-FFF2-40B4-BE49-F238E27FC236}">
                  <a16:creationId xmlns:a16="http://schemas.microsoft.com/office/drawing/2014/main" id="{557F14D4-C21D-4028-8D75-7756DE5A6F25}"/>
                </a:ext>
              </a:extLst>
            </p:cNvPr>
            <p:cNvGrpSpPr/>
            <p:nvPr/>
          </p:nvGrpSpPr>
          <p:grpSpPr>
            <a:xfrm>
              <a:off x="584200" y="5867433"/>
              <a:ext cx="576006" cy="576006"/>
              <a:chOff x="584200" y="5582644"/>
              <a:chExt cx="576006" cy="576006"/>
            </a:xfrm>
          </p:grpSpPr>
          <p:sp>
            <p:nvSpPr>
              <p:cNvPr id="33" name="Oval 32">
                <a:extLst>
                  <a:ext uri="{FF2B5EF4-FFF2-40B4-BE49-F238E27FC236}">
                    <a16:creationId xmlns:a16="http://schemas.microsoft.com/office/drawing/2014/main" id="{5999C709-860F-4B3F-BAA0-E7FB223ED230}"/>
                  </a:ext>
                </a:extLst>
              </p:cNvPr>
              <p:cNvSpPr>
                <a:spLocks/>
              </p:cNvSpPr>
              <p:nvPr/>
            </p:nvSpPr>
            <p:spPr bwMode="auto">
              <a:xfrm>
                <a:off x="584200" y="5582644"/>
                <a:ext cx="576006" cy="576006"/>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1" name="Oval 40">
                <a:extLst>
                  <a:ext uri="{FF2B5EF4-FFF2-40B4-BE49-F238E27FC236}">
                    <a16:creationId xmlns:a16="http://schemas.microsoft.com/office/drawing/2014/main" id="{173FD6B2-C161-414F-AEDF-F427DDCE3FEC}"/>
                  </a:ext>
                </a:extLst>
              </p:cNvPr>
              <p:cNvSpPr/>
              <p:nvPr/>
            </p:nvSpPr>
            <p:spPr bwMode="auto">
              <a:xfrm>
                <a:off x="640205" y="5638650"/>
                <a:ext cx="463996" cy="463994"/>
              </a:xfrm>
              <a:prstGeom prst="ellipse">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5</a:t>
                </a:r>
              </a:p>
            </p:txBody>
          </p:sp>
        </p:grpSp>
      </p:grpSp>
    </p:spTree>
    <p:extLst>
      <p:ext uri="{BB962C8B-B14F-4D97-AF65-F5344CB8AC3E}">
        <p14:creationId xmlns:p14="http://schemas.microsoft.com/office/powerpoint/2010/main" val="862609663"/>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10A3611B-2597-47E3-94CC-C40BCF80435D}"/>
              </a:ext>
            </a:extLst>
          </p:cNvPr>
          <p:cNvSpPr/>
          <p:nvPr/>
        </p:nvSpPr>
        <p:spPr>
          <a:xfrm>
            <a:off x="1340260" y="3581380"/>
            <a:ext cx="7086221" cy="369332"/>
          </a:xfrm>
          <a:prstGeom prst="rect">
            <a:avLst/>
          </a:prstGeom>
        </p:spPr>
        <p:txBody>
          <a:bodyPr wrap="square" lIns="0" rIns="0" anchor="ctr">
            <a:noAutofit/>
          </a:bodyPr>
          <a:lstStyle/>
          <a:p>
            <a:pPr marL="0" lvl="1" defTabSz="896181">
              <a:spcBef>
                <a:spcPts val="600"/>
              </a:spcBef>
              <a:buSzPct val="90000"/>
            </a:pPr>
            <a:r>
              <a:rPr lang="en-US">
                <a:latin typeface="Segoe UI" panose="020B0502040204020203" pitchFamily="34" charset="0"/>
                <a:cs typeface="Segoe UI" panose="020B0502040204020203" pitchFamily="34" charset="0"/>
              </a:rPr>
              <a:t>Maintain active Teams groups for your Champions</a:t>
            </a:r>
          </a:p>
        </p:txBody>
      </p:sp>
      <p:sp>
        <p:nvSpPr>
          <p:cNvPr id="46" name="Rectangle 45">
            <a:extLst>
              <a:ext uri="{FF2B5EF4-FFF2-40B4-BE49-F238E27FC236}">
                <a16:creationId xmlns:a16="http://schemas.microsoft.com/office/drawing/2014/main" id="{288F5F33-9DEE-4553-B9A8-571984A8A22F}"/>
              </a:ext>
            </a:extLst>
          </p:cNvPr>
          <p:cNvSpPr/>
          <p:nvPr/>
        </p:nvSpPr>
        <p:spPr>
          <a:xfrm>
            <a:off x="1340260" y="4418164"/>
            <a:ext cx="7086221" cy="369332"/>
          </a:xfrm>
          <a:prstGeom prst="rect">
            <a:avLst/>
          </a:prstGeom>
        </p:spPr>
        <p:txBody>
          <a:bodyPr wrap="square" lIns="0" rIns="0" anchor="ctr">
            <a:noAutofit/>
          </a:bodyPr>
          <a:lstStyle/>
          <a:p>
            <a:pPr marL="0" lvl="1" defTabSz="896181">
              <a:spcBef>
                <a:spcPts val="600"/>
              </a:spcBef>
              <a:buSzPct val="90000"/>
            </a:pPr>
            <a:r>
              <a:rPr lang="en-US">
                <a:latin typeface="Segoe UI" panose="020B0502040204020203" pitchFamily="34" charset="0"/>
                <a:cs typeface="Segoe UI" panose="020B0502040204020203" pitchFamily="34" charset="0"/>
              </a:rPr>
              <a:t>Share success stories</a:t>
            </a:r>
          </a:p>
        </p:txBody>
      </p:sp>
      <p:sp>
        <p:nvSpPr>
          <p:cNvPr id="47" name="Rectangle 46">
            <a:extLst>
              <a:ext uri="{FF2B5EF4-FFF2-40B4-BE49-F238E27FC236}">
                <a16:creationId xmlns:a16="http://schemas.microsoft.com/office/drawing/2014/main" id="{AD57EEED-E73C-4FAB-9192-061489063F90}"/>
              </a:ext>
            </a:extLst>
          </p:cNvPr>
          <p:cNvSpPr/>
          <p:nvPr/>
        </p:nvSpPr>
        <p:spPr>
          <a:xfrm>
            <a:off x="1340260" y="5116448"/>
            <a:ext cx="7086221" cy="646331"/>
          </a:xfrm>
          <a:prstGeom prst="rect">
            <a:avLst/>
          </a:prstGeom>
        </p:spPr>
        <p:txBody>
          <a:bodyPr wrap="square" lIns="0" rIns="0" anchor="ctr">
            <a:noAutofit/>
          </a:bodyPr>
          <a:lstStyle/>
          <a:p>
            <a:pPr marL="0" lvl="1" defTabSz="896181">
              <a:spcBef>
                <a:spcPts val="600"/>
              </a:spcBef>
              <a:buSzPct val="90000"/>
            </a:pPr>
            <a:r>
              <a:rPr lang="en-US">
                <a:latin typeface="Segoe UI" panose="020B0502040204020203" pitchFamily="34" charset="0"/>
                <a:cs typeface="Segoe UI" panose="020B0502040204020203" pitchFamily="34" charset="0"/>
              </a:rPr>
              <a:t>Host engagement events to share stories or introduce new features</a:t>
            </a:r>
          </a:p>
          <a:p>
            <a:pPr marL="374650" lvl="1" indent="-285750" defTabSz="896181">
              <a:spcBef>
                <a:spcPts val="300"/>
              </a:spcBef>
              <a:buSzPct val="90000"/>
              <a:buFont typeface="Verdana" panose="020B0604030504040204" pitchFamily="34" charset="0"/>
              <a:buChar char="-"/>
            </a:pPr>
            <a:r>
              <a:rPr lang="en-US" sz="1600">
                <a:latin typeface="Segoe UI" panose="020B0502040204020203" pitchFamily="34" charset="0"/>
                <a:cs typeface="Segoe UI" panose="020B0502040204020203" pitchFamily="34" charset="0"/>
              </a:rPr>
              <a:t>Tip: Be sure to staff events with IT or Champions</a:t>
            </a:r>
          </a:p>
        </p:txBody>
      </p:sp>
      <p:sp>
        <p:nvSpPr>
          <p:cNvPr id="48" name="Rectangle 47">
            <a:extLst>
              <a:ext uri="{FF2B5EF4-FFF2-40B4-BE49-F238E27FC236}">
                <a16:creationId xmlns:a16="http://schemas.microsoft.com/office/drawing/2014/main" id="{8D32554F-B97C-41C3-813B-62B03D242576}"/>
              </a:ext>
            </a:extLst>
          </p:cNvPr>
          <p:cNvSpPr/>
          <p:nvPr/>
        </p:nvSpPr>
        <p:spPr>
          <a:xfrm>
            <a:off x="1340260" y="6091733"/>
            <a:ext cx="7086221" cy="369332"/>
          </a:xfrm>
          <a:prstGeom prst="rect">
            <a:avLst/>
          </a:prstGeom>
        </p:spPr>
        <p:txBody>
          <a:bodyPr wrap="square" lIns="0" rIns="0" anchor="ctr">
            <a:noAutofit/>
          </a:bodyPr>
          <a:lstStyle/>
          <a:p>
            <a:pPr marL="0" lvl="1" defTabSz="896181">
              <a:spcBef>
                <a:spcPts val="600"/>
              </a:spcBef>
              <a:buSzPct val="90000"/>
            </a:pPr>
            <a:r>
              <a:rPr lang="en-US">
                <a:latin typeface="Segoe UI" panose="020B0502040204020203" pitchFamily="34" charset="0"/>
                <a:cs typeface="Segoe UI" panose="020B0502040204020203" pitchFamily="34" charset="0"/>
              </a:rPr>
              <a:t>Set challenges for people and run competitions</a:t>
            </a:r>
          </a:p>
        </p:txBody>
      </p:sp>
      <p:cxnSp>
        <p:nvCxnSpPr>
          <p:cNvPr id="51" name="Straight Connector 50">
            <a:extLst>
              <a:ext uri="{FF2B5EF4-FFF2-40B4-BE49-F238E27FC236}">
                <a16:creationId xmlns:a16="http://schemas.microsoft.com/office/drawing/2014/main" id="{F7FA3933-4EDC-4D7B-A5A3-81036F214785}"/>
              </a:ext>
            </a:extLst>
          </p:cNvPr>
          <p:cNvCxnSpPr>
            <a:cxnSpLocks/>
          </p:cNvCxnSpPr>
          <p:nvPr/>
        </p:nvCxnSpPr>
        <p:spPr>
          <a:xfrm>
            <a:off x="1340260" y="4184439"/>
            <a:ext cx="6990736"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7AFC30D-FCEA-43DF-849A-431D3A31327B}"/>
              </a:ext>
            </a:extLst>
          </p:cNvPr>
          <p:cNvCxnSpPr>
            <a:cxnSpLocks/>
          </p:cNvCxnSpPr>
          <p:nvPr/>
        </p:nvCxnSpPr>
        <p:spPr>
          <a:xfrm>
            <a:off x="1340260" y="5021224"/>
            <a:ext cx="7482349"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0B836CE-525C-4EDD-96C7-DF8EE6940849}"/>
              </a:ext>
            </a:extLst>
          </p:cNvPr>
          <p:cNvCxnSpPr>
            <a:cxnSpLocks/>
          </p:cNvCxnSpPr>
          <p:nvPr/>
        </p:nvCxnSpPr>
        <p:spPr>
          <a:xfrm>
            <a:off x="1340260" y="5858009"/>
            <a:ext cx="795429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588263" y="457200"/>
            <a:ext cx="11018520" cy="553998"/>
          </a:xfrm>
        </p:spPr>
        <p:txBody>
          <a:bodyPr/>
          <a:lstStyle/>
          <a:p>
            <a:r>
              <a:rPr lang="en-US"/>
              <a:t>Reinforce adoption</a:t>
            </a:r>
          </a:p>
        </p:txBody>
      </p:sp>
      <p:sp>
        <p:nvSpPr>
          <p:cNvPr id="15" name="Graphic 13">
            <a:extLst>
              <a:ext uri="{FF2B5EF4-FFF2-40B4-BE49-F238E27FC236}">
                <a16:creationId xmlns:a16="http://schemas.microsoft.com/office/drawing/2014/main" id="{42B474BB-2AF0-4897-9F22-D59FA413BD57}"/>
              </a:ext>
            </a:extLst>
          </p:cNvPr>
          <p:cNvSpPr/>
          <p:nvPr/>
        </p:nvSpPr>
        <p:spPr>
          <a:xfrm>
            <a:off x="6096001" y="0"/>
            <a:ext cx="6096000" cy="6580900"/>
          </a:xfrm>
          <a:custGeom>
            <a:avLst/>
            <a:gdLst>
              <a:gd name="connsiteX0" fmla="*/ 135710 w 4560167"/>
              <a:gd name="connsiteY0" fmla="*/ 0 h 4922901"/>
              <a:gd name="connsiteX1" fmla="*/ 4560168 w 4560167"/>
              <a:gd name="connsiteY1" fmla="*/ 0 h 4922901"/>
              <a:gd name="connsiteX2" fmla="*/ 4560168 w 4560167"/>
              <a:gd name="connsiteY2" fmla="*/ 4922902 h 4922901"/>
              <a:gd name="connsiteX3" fmla="*/ 2739464 w 4560167"/>
              <a:gd name="connsiteY3" fmla="*/ 4922902 h 4922901"/>
              <a:gd name="connsiteX4" fmla="*/ 2534390 w 4560167"/>
              <a:gd name="connsiteY4" fmla="*/ 4801362 h 4922901"/>
              <a:gd name="connsiteX5" fmla="*/ 16838 w 4560167"/>
              <a:gd name="connsiteY5" fmla="*/ 200692 h 4922901"/>
              <a:gd name="connsiteX6" fmla="*/ 135710 w 4560167"/>
              <a:gd name="connsiteY6" fmla="*/ 0 h 49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0167" h="4922901">
                <a:moveTo>
                  <a:pt x="135710" y="0"/>
                </a:moveTo>
                <a:lnTo>
                  <a:pt x="4560168" y="0"/>
                </a:lnTo>
                <a:lnTo>
                  <a:pt x="4560168" y="4922902"/>
                </a:lnTo>
                <a:lnTo>
                  <a:pt x="2739464" y="4922902"/>
                </a:lnTo>
                <a:cubicBezTo>
                  <a:pt x="2654025" y="4922902"/>
                  <a:pt x="2575348" y="4876324"/>
                  <a:pt x="2534390" y="4801362"/>
                </a:cubicBezTo>
                <a:lnTo>
                  <a:pt x="16838" y="200692"/>
                </a:lnTo>
                <a:cubicBezTo>
                  <a:pt x="-32597" y="110300"/>
                  <a:pt x="32744" y="0"/>
                  <a:pt x="135710" y="0"/>
                </a:cubicBezTo>
                <a:close/>
              </a:path>
            </a:pathLst>
          </a:custGeom>
          <a:solidFill>
            <a:schemeClr val="accent2"/>
          </a:solidFill>
          <a:ln w="9525" cap="flat">
            <a:noFill/>
            <a:prstDash val="solid"/>
            <a:miter/>
          </a:ln>
        </p:spPr>
        <p:txBody>
          <a:bodyPr rtlCol="0" anchor="ctr"/>
          <a:lstStyle/>
          <a:p>
            <a:endParaRPr lang="en-US"/>
          </a:p>
        </p:txBody>
      </p:sp>
      <p:pic>
        <p:nvPicPr>
          <p:cNvPr id="25" name="Picture 24">
            <a:extLst>
              <a:ext uri="{FF2B5EF4-FFF2-40B4-BE49-F238E27FC236}">
                <a16:creationId xmlns:a16="http://schemas.microsoft.com/office/drawing/2014/main" id="{2036DA33-EA40-4539-9E6A-F07B9B8DE755}"/>
              </a:ext>
            </a:extLst>
          </p:cNvPr>
          <p:cNvPicPr>
            <a:picLocks noChangeAspect="1"/>
          </p:cNvPicPr>
          <p:nvPr/>
        </p:nvPicPr>
        <p:blipFill rotWithShape="1">
          <a:blip r:embed="rId3"/>
          <a:srcRect l="10263" t="250" r="12294" b="660"/>
          <a:stretch/>
        </p:blipFill>
        <p:spPr>
          <a:xfrm>
            <a:off x="6227067" y="0"/>
            <a:ext cx="5962325" cy="6578025"/>
          </a:xfrm>
          <a:custGeom>
            <a:avLst/>
            <a:gdLst>
              <a:gd name="connsiteX0" fmla="*/ 181417 w 5964933"/>
              <a:gd name="connsiteY0" fmla="*/ 0 h 6580902"/>
              <a:gd name="connsiteX1" fmla="*/ 5964933 w 5964933"/>
              <a:gd name="connsiteY1" fmla="*/ 0 h 6580902"/>
              <a:gd name="connsiteX2" fmla="*/ 5964933 w 5964933"/>
              <a:gd name="connsiteY2" fmla="*/ 6580902 h 6580902"/>
              <a:gd name="connsiteX3" fmla="*/ 3662098 w 5964933"/>
              <a:gd name="connsiteY3" fmla="*/ 6580902 h 6580902"/>
              <a:gd name="connsiteX4" fmla="*/ 3387956 w 5964933"/>
              <a:gd name="connsiteY4" fmla="*/ 6418428 h 6580902"/>
              <a:gd name="connsiteX5" fmla="*/ 22510 w 5964933"/>
              <a:gd name="connsiteY5" fmla="*/ 268284 h 6580902"/>
              <a:gd name="connsiteX6" fmla="*/ 181417 w 5964933"/>
              <a:gd name="connsiteY6" fmla="*/ 0 h 658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4933" h="6580902">
                <a:moveTo>
                  <a:pt x="181417" y="0"/>
                </a:moveTo>
                <a:lnTo>
                  <a:pt x="5964933" y="0"/>
                </a:lnTo>
                <a:lnTo>
                  <a:pt x="5964933" y="6580902"/>
                </a:lnTo>
                <a:lnTo>
                  <a:pt x="3662098" y="6580902"/>
                </a:lnTo>
                <a:cubicBezTo>
                  <a:pt x="3547883" y="6580902"/>
                  <a:pt x="3442709" y="6518636"/>
                  <a:pt x="3387956" y="6418428"/>
                </a:cubicBezTo>
                <a:lnTo>
                  <a:pt x="22510" y="268284"/>
                </a:lnTo>
                <a:cubicBezTo>
                  <a:pt x="-43575" y="147448"/>
                  <a:pt x="43773" y="0"/>
                  <a:pt x="181417" y="0"/>
                </a:cubicBezTo>
                <a:close/>
              </a:path>
            </a:pathLst>
          </a:custGeom>
        </p:spPr>
      </p:pic>
      <p:sp>
        <p:nvSpPr>
          <p:cNvPr id="31" name="Freeform: Shape 30">
            <a:extLst>
              <a:ext uri="{FF2B5EF4-FFF2-40B4-BE49-F238E27FC236}">
                <a16:creationId xmlns:a16="http://schemas.microsoft.com/office/drawing/2014/main" id="{4355D687-B03D-4D3F-9D25-38E5D29B34FE}"/>
              </a:ext>
            </a:extLst>
          </p:cNvPr>
          <p:cNvSpPr/>
          <p:nvPr/>
        </p:nvSpPr>
        <p:spPr>
          <a:xfrm rot="10800000" flipV="1">
            <a:off x="1" y="1085851"/>
            <a:ext cx="8492233" cy="1795319"/>
          </a:xfrm>
          <a:custGeom>
            <a:avLst/>
            <a:gdLst>
              <a:gd name="connsiteX0" fmla="*/ 8492233 w 8492233"/>
              <a:gd name="connsiteY0" fmla="*/ 0 h 1795319"/>
              <a:gd name="connsiteX1" fmla="*/ 6171820 w 8492233"/>
              <a:gd name="connsiteY1" fmla="*/ 0 h 1795319"/>
              <a:gd name="connsiteX2" fmla="*/ 3983448 w 8492233"/>
              <a:gd name="connsiteY2" fmla="*/ 0 h 1795319"/>
              <a:gd name="connsiteX3" fmla="*/ 3879023 w 8492233"/>
              <a:gd name="connsiteY3" fmla="*/ 0 h 1795319"/>
              <a:gd name="connsiteX4" fmla="*/ 2369905 w 8492233"/>
              <a:gd name="connsiteY4" fmla="*/ 0 h 1795319"/>
              <a:gd name="connsiteX5" fmla="*/ 1663035 w 8492233"/>
              <a:gd name="connsiteY5" fmla="*/ 0 h 1795319"/>
              <a:gd name="connsiteX6" fmla="*/ 1558610 w 8492233"/>
              <a:gd name="connsiteY6" fmla="*/ 0 h 1795319"/>
              <a:gd name="connsiteX7" fmla="*/ 49492 w 8492233"/>
              <a:gd name="connsiteY7" fmla="*/ 0 h 1795319"/>
              <a:gd name="connsiteX8" fmla="*/ 6140 w 8492233"/>
              <a:gd name="connsiteY8" fmla="*/ 73190 h 1795319"/>
              <a:gd name="connsiteX9" fmla="*/ 924259 w 8492233"/>
              <a:gd name="connsiteY9" fmla="*/ 1750995 h 1795319"/>
              <a:gd name="connsiteX10" fmla="*/ 999047 w 8492233"/>
              <a:gd name="connsiteY10" fmla="*/ 1795319 h 1795319"/>
              <a:gd name="connsiteX11" fmla="*/ 1663035 w 8492233"/>
              <a:gd name="connsiteY11" fmla="*/ 1795319 h 1795319"/>
              <a:gd name="connsiteX12" fmla="*/ 1663035 w 8492233"/>
              <a:gd name="connsiteY12" fmla="*/ 1795318 h 1795319"/>
              <a:gd name="connsiteX13" fmla="*/ 3319458 w 8492233"/>
              <a:gd name="connsiteY13" fmla="*/ 1795318 h 1795319"/>
              <a:gd name="connsiteX14" fmla="*/ 3319460 w 8492233"/>
              <a:gd name="connsiteY14" fmla="*/ 1795319 h 1795319"/>
              <a:gd name="connsiteX15" fmla="*/ 3983448 w 8492233"/>
              <a:gd name="connsiteY15" fmla="*/ 1795319 h 1795319"/>
              <a:gd name="connsiteX16" fmla="*/ 3983448 w 8492233"/>
              <a:gd name="connsiteY16" fmla="*/ 1795318 h 1795319"/>
              <a:gd name="connsiteX17" fmla="*/ 6171820 w 8492233"/>
              <a:gd name="connsiteY17" fmla="*/ 1795318 h 1795319"/>
              <a:gd name="connsiteX18" fmla="*/ 8492233 w 8492233"/>
              <a:gd name="connsiteY18" fmla="*/ 1795318 h 179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92233" h="1795319">
                <a:moveTo>
                  <a:pt x="8492233" y="0"/>
                </a:moveTo>
                <a:lnTo>
                  <a:pt x="6171820" y="0"/>
                </a:lnTo>
                <a:lnTo>
                  <a:pt x="3983448" y="0"/>
                </a:lnTo>
                <a:lnTo>
                  <a:pt x="3879023" y="0"/>
                </a:lnTo>
                <a:lnTo>
                  <a:pt x="2369905" y="0"/>
                </a:lnTo>
                <a:lnTo>
                  <a:pt x="1663035" y="0"/>
                </a:lnTo>
                <a:lnTo>
                  <a:pt x="1558610" y="0"/>
                </a:lnTo>
                <a:lnTo>
                  <a:pt x="49492" y="0"/>
                </a:lnTo>
                <a:cubicBezTo>
                  <a:pt x="11941" y="0"/>
                  <a:pt x="-11888" y="40225"/>
                  <a:pt x="6140" y="73190"/>
                </a:cubicBezTo>
                <a:lnTo>
                  <a:pt x="924259" y="1750995"/>
                </a:lnTo>
                <a:cubicBezTo>
                  <a:pt x="939196" y="1778332"/>
                  <a:pt x="967888" y="1795319"/>
                  <a:pt x="999047" y="1795319"/>
                </a:cubicBezTo>
                <a:lnTo>
                  <a:pt x="1663035" y="1795319"/>
                </a:lnTo>
                <a:lnTo>
                  <a:pt x="1663035" y="1795318"/>
                </a:lnTo>
                <a:lnTo>
                  <a:pt x="3319458" y="1795318"/>
                </a:lnTo>
                <a:lnTo>
                  <a:pt x="3319460" y="1795319"/>
                </a:lnTo>
                <a:lnTo>
                  <a:pt x="3983448" y="1795319"/>
                </a:lnTo>
                <a:lnTo>
                  <a:pt x="3983448" y="1795318"/>
                </a:lnTo>
                <a:lnTo>
                  <a:pt x="6171820" y="1795318"/>
                </a:lnTo>
                <a:lnTo>
                  <a:pt x="8492233" y="1795318"/>
                </a:lnTo>
                <a:close/>
              </a:path>
            </a:pathLst>
          </a:custGeom>
          <a:solidFill>
            <a:schemeClr val="bg1">
              <a:lumMod val="95000"/>
            </a:schemeClr>
          </a:solidFill>
          <a:ln w="9525" cap="flat">
            <a:noFill/>
            <a:prstDash val="solid"/>
            <a:miter/>
          </a:ln>
        </p:spPr>
        <p:txBody>
          <a:bodyPr rtlCol="0" anchor="ctr"/>
          <a:lstStyle/>
          <a:p>
            <a:endParaRPr lang="en-US"/>
          </a:p>
        </p:txBody>
      </p:sp>
      <p:sp>
        <p:nvSpPr>
          <p:cNvPr id="29" name="Rectangle 28">
            <a:extLst>
              <a:ext uri="{FF2B5EF4-FFF2-40B4-BE49-F238E27FC236}">
                <a16:creationId xmlns:a16="http://schemas.microsoft.com/office/drawing/2014/main" id="{D6DA8D30-7376-4967-AADF-D8DE847A39AD}"/>
              </a:ext>
            </a:extLst>
          </p:cNvPr>
          <p:cNvSpPr/>
          <p:nvPr/>
        </p:nvSpPr>
        <p:spPr>
          <a:xfrm>
            <a:off x="588262" y="1187138"/>
            <a:ext cx="6936488" cy="1592744"/>
          </a:xfrm>
          <a:prstGeom prst="rect">
            <a:avLst/>
          </a:prstGeom>
        </p:spPr>
        <p:txBody>
          <a:bodyPr wrap="square" lIns="0" rIns="0" anchor="ctr">
            <a:spAutoFit/>
          </a:bodyPr>
          <a:lstStyle/>
          <a:p>
            <a:pPr marL="0" lvl="1" defTabSz="896181">
              <a:spcBef>
                <a:spcPts val="1200"/>
              </a:spcBef>
              <a:spcAft>
                <a:spcPts val="900"/>
              </a:spcAft>
              <a:buSzPct val="90000"/>
            </a:pPr>
            <a:r>
              <a:rPr lang="en-US" sz="2000">
                <a:latin typeface="+mj-lt"/>
                <a:cs typeface="Segoe UI" panose="020B0502040204020203" pitchFamily="34" charset="0"/>
              </a:rPr>
              <a:t>Reinforcement is critical to make change stick. </a:t>
            </a:r>
          </a:p>
          <a:p>
            <a:pPr marL="0" lvl="1" defTabSz="896181">
              <a:spcBef>
                <a:spcPts val="1200"/>
              </a:spcBef>
              <a:spcAft>
                <a:spcPts val="900"/>
              </a:spcAft>
              <a:buSzPct val="90000"/>
            </a:pPr>
            <a:r>
              <a:rPr lang="en-US" sz="2000">
                <a:latin typeface="+mj-lt"/>
                <a:cs typeface="Segoe UI" panose="020B0502040204020203" pitchFamily="34" charset="0"/>
              </a:rPr>
              <a:t>Reminding people why this change is important isn’t the only way to motivate them to adopt the changes and turn them into the normal way of doing things.</a:t>
            </a:r>
          </a:p>
        </p:txBody>
      </p:sp>
      <p:cxnSp>
        <p:nvCxnSpPr>
          <p:cNvPr id="33" name="Straight Connector 32">
            <a:extLst>
              <a:ext uri="{FF2B5EF4-FFF2-40B4-BE49-F238E27FC236}">
                <a16:creationId xmlns:a16="http://schemas.microsoft.com/office/drawing/2014/main" id="{43B855F7-59BD-4F7D-A406-BD299F9AF67E}"/>
              </a:ext>
            </a:extLst>
          </p:cNvPr>
          <p:cNvCxnSpPr>
            <a:cxnSpLocks/>
          </p:cNvCxnSpPr>
          <p:nvPr/>
        </p:nvCxnSpPr>
        <p:spPr>
          <a:xfrm>
            <a:off x="588262" y="1685857"/>
            <a:ext cx="7603238"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4902D6A3-26D5-476C-8462-D368B85C0ADD}"/>
              </a:ext>
            </a:extLst>
          </p:cNvPr>
          <p:cNvSpPr/>
          <p:nvPr/>
        </p:nvSpPr>
        <p:spPr>
          <a:xfrm>
            <a:off x="588262" y="2930076"/>
            <a:ext cx="5759373" cy="400110"/>
          </a:xfrm>
          <a:prstGeom prst="rect">
            <a:avLst/>
          </a:prstGeom>
        </p:spPr>
        <p:txBody>
          <a:bodyPr wrap="square" lIns="0" rIns="0">
            <a:spAutoFit/>
          </a:bodyPr>
          <a:lstStyle/>
          <a:p>
            <a:pPr marL="0" lvl="1" defTabSz="896181">
              <a:spcBef>
                <a:spcPts val="600"/>
              </a:spcBef>
              <a:spcAft>
                <a:spcPts val="600"/>
              </a:spcAft>
              <a:buSzPct val="90000"/>
            </a:pPr>
            <a:r>
              <a:rPr lang="en-US" sz="2000">
                <a:solidFill>
                  <a:schemeClr val="accent2"/>
                </a:solidFill>
                <a:latin typeface="+mj-lt"/>
                <a:cs typeface="Segoe UI" panose="020B0502040204020203" pitchFamily="34" charset="0"/>
              </a:rPr>
              <a:t>To help reinforce adoption:</a:t>
            </a:r>
          </a:p>
        </p:txBody>
      </p:sp>
      <p:sp>
        <p:nvSpPr>
          <p:cNvPr id="38" name="Rectangle 37" hidden="1">
            <a:extLst>
              <a:ext uri="{FF2B5EF4-FFF2-40B4-BE49-F238E27FC236}">
                <a16:creationId xmlns:a16="http://schemas.microsoft.com/office/drawing/2014/main" id="{691F0038-C3ED-449F-B6C6-D9A3E16F1C39}"/>
              </a:ext>
            </a:extLst>
          </p:cNvPr>
          <p:cNvSpPr/>
          <p:nvPr/>
        </p:nvSpPr>
        <p:spPr>
          <a:xfrm>
            <a:off x="588262" y="4190998"/>
            <a:ext cx="5759373" cy="313932"/>
          </a:xfrm>
          <a:prstGeom prst="rect">
            <a:avLst/>
          </a:prstGeom>
        </p:spPr>
        <p:txBody>
          <a:bodyPr wrap="square" lIns="0" rIns="0">
            <a:spAutoFit/>
          </a:bodyPr>
          <a:lstStyle/>
          <a:p>
            <a:pPr marL="285750" lvl="1" indent="-285750" defTabSz="896181">
              <a:lnSpc>
                <a:spcPct val="90000"/>
              </a:lnSpc>
              <a:spcBef>
                <a:spcPts val="600"/>
              </a:spcBef>
              <a:buSzPct val="90000"/>
              <a:buFont typeface="Arial" panose="020B0604020202020204" pitchFamily="34" charset="0"/>
              <a:buChar char="•"/>
            </a:pPr>
            <a:endParaRPr lang="en-US" sz="1600">
              <a:latin typeface="Segoe UI" panose="020B0502040204020203" pitchFamily="34" charset="0"/>
              <a:cs typeface="Segoe UI" panose="020B0502040204020203" pitchFamily="34" charset="0"/>
            </a:endParaRPr>
          </a:p>
        </p:txBody>
      </p:sp>
      <p:sp>
        <p:nvSpPr>
          <p:cNvPr id="27" name="Oval 26">
            <a:extLst>
              <a:ext uri="{FF2B5EF4-FFF2-40B4-BE49-F238E27FC236}">
                <a16:creationId xmlns:a16="http://schemas.microsoft.com/office/drawing/2014/main" id="{6C531DE3-A7B9-487C-9761-EEDFF2AA1F6A}"/>
              </a:ext>
            </a:extLst>
          </p:cNvPr>
          <p:cNvSpPr>
            <a:spLocks/>
          </p:cNvSpPr>
          <p:nvPr/>
        </p:nvSpPr>
        <p:spPr bwMode="auto">
          <a:xfrm>
            <a:off x="584199" y="3464421"/>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8" name="Oval 27">
            <a:extLst>
              <a:ext uri="{FF2B5EF4-FFF2-40B4-BE49-F238E27FC236}">
                <a16:creationId xmlns:a16="http://schemas.microsoft.com/office/drawing/2014/main" id="{98F38B1E-E1B8-4545-973E-52E8D09D8C84}"/>
              </a:ext>
            </a:extLst>
          </p:cNvPr>
          <p:cNvSpPr>
            <a:spLocks/>
          </p:cNvSpPr>
          <p:nvPr/>
        </p:nvSpPr>
        <p:spPr bwMode="auto">
          <a:xfrm>
            <a:off x="584199" y="4301206"/>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0" name="Oval 29">
            <a:extLst>
              <a:ext uri="{FF2B5EF4-FFF2-40B4-BE49-F238E27FC236}">
                <a16:creationId xmlns:a16="http://schemas.microsoft.com/office/drawing/2014/main" id="{32F60FEB-6EC7-4142-BDB4-639AAE50BEC6}"/>
              </a:ext>
            </a:extLst>
          </p:cNvPr>
          <p:cNvSpPr>
            <a:spLocks/>
          </p:cNvSpPr>
          <p:nvPr/>
        </p:nvSpPr>
        <p:spPr bwMode="auto">
          <a:xfrm>
            <a:off x="584199" y="5137991"/>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2" name="Oval 31">
            <a:extLst>
              <a:ext uri="{FF2B5EF4-FFF2-40B4-BE49-F238E27FC236}">
                <a16:creationId xmlns:a16="http://schemas.microsoft.com/office/drawing/2014/main" id="{344EEE37-04FC-46DE-845F-8A749C4ADE72}"/>
              </a:ext>
            </a:extLst>
          </p:cNvPr>
          <p:cNvSpPr>
            <a:spLocks/>
          </p:cNvSpPr>
          <p:nvPr/>
        </p:nvSpPr>
        <p:spPr bwMode="auto">
          <a:xfrm>
            <a:off x="584199" y="5974774"/>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61" name="people_12" title="Icon of three people">
            <a:extLst>
              <a:ext uri="{FF2B5EF4-FFF2-40B4-BE49-F238E27FC236}">
                <a16:creationId xmlns:a16="http://schemas.microsoft.com/office/drawing/2014/main" id="{2238B7D6-1B0D-44A0-95A2-4AF0A276D550}"/>
              </a:ext>
            </a:extLst>
          </p:cNvPr>
          <p:cNvSpPr>
            <a:spLocks noChangeAspect="1" noEditPoints="1"/>
          </p:cNvSpPr>
          <p:nvPr/>
        </p:nvSpPr>
        <p:spPr bwMode="auto">
          <a:xfrm>
            <a:off x="691732" y="3600452"/>
            <a:ext cx="388184" cy="331189"/>
          </a:xfrm>
          <a:custGeom>
            <a:avLst/>
            <a:gdLst>
              <a:gd name="T0" fmla="*/ 110 w 349"/>
              <a:gd name="T1" fmla="*/ 142 h 296"/>
              <a:gd name="T2" fmla="*/ 174 w 349"/>
              <a:gd name="T3" fmla="*/ 78 h 296"/>
              <a:gd name="T4" fmla="*/ 238 w 349"/>
              <a:gd name="T5" fmla="*/ 142 h 296"/>
              <a:gd name="T6" fmla="*/ 174 w 349"/>
              <a:gd name="T7" fmla="*/ 206 h 296"/>
              <a:gd name="T8" fmla="*/ 110 w 349"/>
              <a:gd name="T9" fmla="*/ 142 h 296"/>
              <a:gd name="T10" fmla="*/ 264 w 349"/>
              <a:gd name="T11" fmla="*/ 296 h 296"/>
              <a:gd name="T12" fmla="*/ 174 w 349"/>
              <a:gd name="T13" fmla="*/ 207 h 296"/>
              <a:gd name="T14" fmla="*/ 85 w 349"/>
              <a:gd name="T15" fmla="*/ 296 h 296"/>
              <a:gd name="T16" fmla="*/ 56 w 349"/>
              <a:gd name="T17" fmla="*/ 80 h 296"/>
              <a:gd name="T18" fmla="*/ 96 w 349"/>
              <a:gd name="T19" fmla="*/ 40 h 296"/>
              <a:gd name="T20" fmla="*/ 56 w 349"/>
              <a:gd name="T21" fmla="*/ 0 h 296"/>
              <a:gd name="T22" fmla="*/ 16 w 349"/>
              <a:gd name="T23" fmla="*/ 40 h 296"/>
              <a:gd name="T24" fmla="*/ 56 w 349"/>
              <a:gd name="T25" fmla="*/ 80 h 296"/>
              <a:gd name="T26" fmla="*/ 111 w 349"/>
              <a:gd name="T27" fmla="*/ 136 h 296"/>
              <a:gd name="T28" fmla="*/ 56 w 349"/>
              <a:gd name="T29" fmla="*/ 81 h 296"/>
              <a:gd name="T30" fmla="*/ 0 w 349"/>
              <a:gd name="T31" fmla="*/ 136 h 296"/>
              <a:gd name="T32" fmla="*/ 293 w 349"/>
              <a:gd name="T33" fmla="*/ 80 h 296"/>
              <a:gd name="T34" fmla="*/ 333 w 349"/>
              <a:gd name="T35" fmla="*/ 40 h 296"/>
              <a:gd name="T36" fmla="*/ 293 w 349"/>
              <a:gd name="T37" fmla="*/ 0 h 296"/>
              <a:gd name="T38" fmla="*/ 253 w 349"/>
              <a:gd name="T39" fmla="*/ 40 h 296"/>
              <a:gd name="T40" fmla="*/ 293 w 349"/>
              <a:gd name="T41" fmla="*/ 80 h 296"/>
              <a:gd name="T42" fmla="*/ 349 w 349"/>
              <a:gd name="T43" fmla="*/ 136 h 296"/>
              <a:gd name="T44" fmla="*/ 293 w 349"/>
              <a:gd name="T45" fmla="*/ 81 h 296"/>
              <a:gd name="T46" fmla="*/ 237 w 349"/>
              <a:gd name="T47" fmla="*/ 13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9" h="296">
                <a:moveTo>
                  <a:pt x="110" y="142"/>
                </a:moveTo>
                <a:cubicBezTo>
                  <a:pt x="110" y="107"/>
                  <a:pt x="139" y="78"/>
                  <a:pt x="174" y="78"/>
                </a:cubicBezTo>
                <a:cubicBezTo>
                  <a:pt x="210" y="78"/>
                  <a:pt x="238" y="107"/>
                  <a:pt x="238" y="142"/>
                </a:cubicBezTo>
                <a:cubicBezTo>
                  <a:pt x="238" y="177"/>
                  <a:pt x="210" y="206"/>
                  <a:pt x="174" y="206"/>
                </a:cubicBezTo>
                <a:cubicBezTo>
                  <a:pt x="139" y="206"/>
                  <a:pt x="110" y="177"/>
                  <a:pt x="110" y="142"/>
                </a:cubicBezTo>
                <a:close/>
                <a:moveTo>
                  <a:pt x="264" y="296"/>
                </a:moveTo>
                <a:cubicBezTo>
                  <a:pt x="264" y="247"/>
                  <a:pt x="224" y="207"/>
                  <a:pt x="174" y="207"/>
                </a:cubicBezTo>
                <a:cubicBezTo>
                  <a:pt x="125" y="207"/>
                  <a:pt x="85" y="247"/>
                  <a:pt x="85" y="296"/>
                </a:cubicBezTo>
                <a:moveTo>
                  <a:pt x="56" y="80"/>
                </a:moveTo>
                <a:cubicBezTo>
                  <a:pt x="78" y="80"/>
                  <a:pt x="96" y="62"/>
                  <a:pt x="96" y="40"/>
                </a:cubicBezTo>
                <a:cubicBezTo>
                  <a:pt x="96" y="18"/>
                  <a:pt x="78" y="0"/>
                  <a:pt x="56" y="0"/>
                </a:cubicBezTo>
                <a:cubicBezTo>
                  <a:pt x="34" y="0"/>
                  <a:pt x="16" y="18"/>
                  <a:pt x="16" y="40"/>
                </a:cubicBezTo>
                <a:cubicBezTo>
                  <a:pt x="16" y="62"/>
                  <a:pt x="34" y="80"/>
                  <a:pt x="56" y="80"/>
                </a:cubicBezTo>
                <a:close/>
                <a:moveTo>
                  <a:pt x="111" y="136"/>
                </a:moveTo>
                <a:cubicBezTo>
                  <a:pt x="111" y="106"/>
                  <a:pt x="86" y="81"/>
                  <a:pt x="56" y="81"/>
                </a:cubicBezTo>
                <a:cubicBezTo>
                  <a:pt x="25" y="81"/>
                  <a:pt x="0" y="106"/>
                  <a:pt x="0" y="136"/>
                </a:cubicBezTo>
                <a:moveTo>
                  <a:pt x="293" y="80"/>
                </a:moveTo>
                <a:cubicBezTo>
                  <a:pt x="315" y="80"/>
                  <a:pt x="333" y="62"/>
                  <a:pt x="333" y="40"/>
                </a:cubicBezTo>
                <a:cubicBezTo>
                  <a:pt x="333" y="18"/>
                  <a:pt x="315" y="0"/>
                  <a:pt x="293" y="0"/>
                </a:cubicBezTo>
                <a:cubicBezTo>
                  <a:pt x="271" y="0"/>
                  <a:pt x="253" y="18"/>
                  <a:pt x="253" y="40"/>
                </a:cubicBezTo>
                <a:cubicBezTo>
                  <a:pt x="253" y="62"/>
                  <a:pt x="271" y="80"/>
                  <a:pt x="293" y="80"/>
                </a:cubicBezTo>
                <a:close/>
                <a:moveTo>
                  <a:pt x="349" y="136"/>
                </a:moveTo>
                <a:cubicBezTo>
                  <a:pt x="349" y="106"/>
                  <a:pt x="324" y="81"/>
                  <a:pt x="293" y="81"/>
                </a:cubicBezTo>
                <a:cubicBezTo>
                  <a:pt x="262" y="81"/>
                  <a:pt x="237" y="106"/>
                  <a:pt x="237" y="136"/>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3" name="Script_F03A" title="Icon of an unrolled document with writing on it">
            <a:extLst>
              <a:ext uri="{FF2B5EF4-FFF2-40B4-BE49-F238E27FC236}">
                <a16:creationId xmlns:a16="http://schemas.microsoft.com/office/drawing/2014/main" id="{BAEB2DFE-DDB8-49BF-BFB7-3E3C36B76512}"/>
              </a:ext>
            </a:extLst>
          </p:cNvPr>
          <p:cNvSpPr>
            <a:spLocks noChangeAspect="1" noEditPoints="1"/>
          </p:cNvSpPr>
          <p:nvPr/>
        </p:nvSpPr>
        <p:spPr bwMode="auto">
          <a:xfrm>
            <a:off x="725069" y="4441998"/>
            <a:ext cx="321511" cy="321667"/>
          </a:xfrm>
          <a:custGeom>
            <a:avLst/>
            <a:gdLst>
              <a:gd name="T0" fmla="*/ 2638 w 3768"/>
              <a:gd name="T1" fmla="*/ 3015 h 3768"/>
              <a:gd name="T2" fmla="*/ 2371 w 3768"/>
              <a:gd name="T3" fmla="*/ 3125 h 3768"/>
              <a:gd name="T4" fmla="*/ 2261 w 3768"/>
              <a:gd name="T5" fmla="*/ 3392 h 3768"/>
              <a:gd name="T6" fmla="*/ 2371 w 3768"/>
              <a:gd name="T7" fmla="*/ 3658 h 3768"/>
              <a:gd name="T8" fmla="*/ 2638 w 3768"/>
              <a:gd name="T9" fmla="*/ 3768 h 3768"/>
              <a:gd name="T10" fmla="*/ 377 w 3768"/>
              <a:gd name="T11" fmla="*/ 3768 h 3768"/>
              <a:gd name="T12" fmla="*/ 110 w 3768"/>
              <a:gd name="T13" fmla="*/ 3658 h 3768"/>
              <a:gd name="T14" fmla="*/ 0 w 3768"/>
              <a:gd name="T15" fmla="*/ 3392 h 3768"/>
              <a:gd name="T16" fmla="*/ 110 w 3768"/>
              <a:gd name="T17" fmla="*/ 3125 h 3768"/>
              <a:gd name="T18" fmla="*/ 377 w 3768"/>
              <a:gd name="T19" fmla="*/ 3015 h 3768"/>
              <a:gd name="T20" fmla="*/ 2638 w 3768"/>
              <a:gd name="T21" fmla="*/ 3015 h 3768"/>
              <a:gd name="T22" fmla="*/ 3382 w 3768"/>
              <a:gd name="T23" fmla="*/ 0 h 3768"/>
              <a:gd name="T24" fmla="*/ 879 w 3768"/>
              <a:gd name="T25" fmla="*/ 0 h 3768"/>
              <a:gd name="T26" fmla="*/ 502 w 3768"/>
              <a:gd name="T27" fmla="*/ 377 h 3768"/>
              <a:gd name="T28" fmla="*/ 502 w 3768"/>
              <a:gd name="T29" fmla="*/ 3015 h 3768"/>
              <a:gd name="T30" fmla="*/ 3015 w 3768"/>
              <a:gd name="T31" fmla="*/ 753 h 3768"/>
              <a:gd name="T32" fmla="*/ 3392 w 3768"/>
              <a:gd name="T33" fmla="*/ 753 h 3768"/>
              <a:gd name="T34" fmla="*/ 3768 w 3768"/>
              <a:gd name="T35" fmla="*/ 377 h 3768"/>
              <a:gd name="T36" fmla="*/ 3392 w 3768"/>
              <a:gd name="T37" fmla="*/ 0 h 3768"/>
              <a:gd name="T38" fmla="*/ 3015 w 3768"/>
              <a:gd name="T39" fmla="*/ 377 h 3768"/>
              <a:gd name="T40" fmla="*/ 3015 w 3768"/>
              <a:gd name="T41" fmla="*/ 2387 h 3768"/>
              <a:gd name="T42" fmla="*/ 3015 w 3768"/>
              <a:gd name="T43" fmla="*/ 2387 h 3768"/>
              <a:gd name="T44" fmla="*/ 3015 w 3768"/>
              <a:gd name="T45" fmla="*/ 3392 h 3768"/>
              <a:gd name="T46" fmla="*/ 377 w 3768"/>
              <a:gd name="T47" fmla="*/ 3768 h 3768"/>
              <a:gd name="T48" fmla="*/ 2638 w 3768"/>
              <a:gd name="T49" fmla="*/ 3768 h 3768"/>
              <a:gd name="T50" fmla="*/ 3015 w 3768"/>
              <a:gd name="T51" fmla="*/ 3392 h 3768"/>
              <a:gd name="T52" fmla="*/ 879 w 3768"/>
              <a:gd name="T53" fmla="*/ 753 h 3768"/>
              <a:gd name="T54" fmla="*/ 2638 w 3768"/>
              <a:gd name="T55" fmla="*/ 753 h 3768"/>
              <a:gd name="T56" fmla="*/ 879 w 3768"/>
              <a:gd name="T57" fmla="*/ 1256 h 3768"/>
              <a:gd name="T58" fmla="*/ 2638 w 3768"/>
              <a:gd name="T59" fmla="*/ 1256 h 3768"/>
              <a:gd name="T60" fmla="*/ 879 w 3768"/>
              <a:gd name="T61" fmla="*/ 1758 h 3768"/>
              <a:gd name="T62" fmla="*/ 2638 w 3768"/>
              <a:gd name="T63" fmla="*/ 1758 h 3768"/>
              <a:gd name="T64" fmla="*/ 879 w 3768"/>
              <a:gd name="T65" fmla="*/ 2261 h 3768"/>
              <a:gd name="T66" fmla="*/ 2638 w 3768"/>
              <a:gd name="T67" fmla="*/ 2261 h 3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68" h="3768">
                <a:moveTo>
                  <a:pt x="2638" y="3015"/>
                </a:moveTo>
                <a:cubicBezTo>
                  <a:pt x="2534" y="3015"/>
                  <a:pt x="2439" y="3057"/>
                  <a:pt x="2371" y="3125"/>
                </a:cubicBezTo>
                <a:cubicBezTo>
                  <a:pt x="2303" y="3193"/>
                  <a:pt x="2261" y="3287"/>
                  <a:pt x="2261" y="3392"/>
                </a:cubicBezTo>
                <a:cubicBezTo>
                  <a:pt x="2261" y="3496"/>
                  <a:pt x="2303" y="3590"/>
                  <a:pt x="2371" y="3658"/>
                </a:cubicBezTo>
                <a:cubicBezTo>
                  <a:pt x="2439" y="3726"/>
                  <a:pt x="2534" y="3768"/>
                  <a:pt x="2638" y="3768"/>
                </a:cubicBezTo>
                <a:moveTo>
                  <a:pt x="377" y="3768"/>
                </a:moveTo>
                <a:cubicBezTo>
                  <a:pt x="272" y="3768"/>
                  <a:pt x="178" y="3726"/>
                  <a:pt x="110" y="3658"/>
                </a:cubicBezTo>
                <a:cubicBezTo>
                  <a:pt x="42" y="3590"/>
                  <a:pt x="0" y="3496"/>
                  <a:pt x="0" y="3392"/>
                </a:cubicBezTo>
                <a:cubicBezTo>
                  <a:pt x="0" y="3287"/>
                  <a:pt x="42" y="3193"/>
                  <a:pt x="110" y="3125"/>
                </a:cubicBezTo>
                <a:cubicBezTo>
                  <a:pt x="178" y="3057"/>
                  <a:pt x="272" y="3015"/>
                  <a:pt x="377" y="3015"/>
                </a:cubicBezTo>
                <a:cubicBezTo>
                  <a:pt x="2638" y="3015"/>
                  <a:pt x="2638" y="3015"/>
                  <a:pt x="2638" y="3015"/>
                </a:cubicBezTo>
                <a:moveTo>
                  <a:pt x="3382" y="0"/>
                </a:moveTo>
                <a:cubicBezTo>
                  <a:pt x="879" y="0"/>
                  <a:pt x="879" y="0"/>
                  <a:pt x="879" y="0"/>
                </a:cubicBezTo>
                <a:cubicBezTo>
                  <a:pt x="671" y="0"/>
                  <a:pt x="502" y="168"/>
                  <a:pt x="502" y="377"/>
                </a:cubicBezTo>
                <a:cubicBezTo>
                  <a:pt x="502" y="3015"/>
                  <a:pt x="502" y="3015"/>
                  <a:pt x="502" y="3015"/>
                </a:cubicBezTo>
                <a:moveTo>
                  <a:pt x="3015" y="753"/>
                </a:moveTo>
                <a:cubicBezTo>
                  <a:pt x="3392" y="753"/>
                  <a:pt x="3392" y="753"/>
                  <a:pt x="3392" y="753"/>
                </a:cubicBezTo>
                <a:cubicBezTo>
                  <a:pt x="3600" y="753"/>
                  <a:pt x="3768" y="585"/>
                  <a:pt x="3768" y="377"/>
                </a:cubicBezTo>
                <a:cubicBezTo>
                  <a:pt x="3768" y="168"/>
                  <a:pt x="3600" y="0"/>
                  <a:pt x="3392" y="0"/>
                </a:cubicBezTo>
                <a:cubicBezTo>
                  <a:pt x="3183" y="0"/>
                  <a:pt x="3015" y="168"/>
                  <a:pt x="3015" y="377"/>
                </a:cubicBezTo>
                <a:cubicBezTo>
                  <a:pt x="3015" y="2387"/>
                  <a:pt x="3015" y="2387"/>
                  <a:pt x="3015" y="2387"/>
                </a:cubicBezTo>
                <a:moveTo>
                  <a:pt x="3015" y="2387"/>
                </a:moveTo>
                <a:cubicBezTo>
                  <a:pt x="3015" y="3392"/>
                  <a:pt x="3015" y="3392"/>
                  <a:pt x="3015" y="3392"/>
                </a:cubicBezTo>
                <a:moveTo>
                  <a:pt x="377" y="3768"/>
                </a:moveTo>
                <a:cubicBezTo>
                  <a:pt x="2638" y="3768"/>
                  <a:pt x="2638" y="3768"/>
                  <a:pt x="2638" y="3768"/>
                </a:cubicBezTo>
                <a:cubicBezTo>
                  <a:pt x="2846" y="3768"/>
                  <a:pt x="3015" y="3600"/>
                  <a:pt x="3015" y="3392"/>
                </a:cubicBezTo>
                <a:moveTo>
                  <a:pt x="879" y="753"/>
                </a:moveTo>
                <a:cubicBezTo>
                  <a:pt x="2638" y="753"/>
                  <a:pt x="2638" y="753"/>
                  <a:pt x="2638" y="753"/>
                </a:cubicBezTo>
                <a:moveTo>
                  <a:pt x="879" y="1256"/>
                </a:moveTo>
                <a:cubicBezTo>
                  <a:pt x="2638" y="1256"/>
                  <a:pt x="2638" y="1256"/>
                  <a:pt x="2638" y="1256"/>
                </a:cubicBezTo>
                <a:moveTo>
                  <a:pt x="879" y="1758"/>
                </a:moveTo>
                <a:cubicBezTo>
                  <a:pt x="2638" y="1758"/>
                  <a:pt x="2638" y="1758"/>
                  <a:pt x="2638" y="1758"/>
                </a:cubicBezTo>
                <a:moveTo>
                  <a:pt x="879" y="2261"/>
                </a:moveTo>
                <a:cubicBezTo>
                  <a:pt x="2638" y="2261"/>
                  <a:pt x="2638" y="2261"/>
                  <a:pt x="2638" y="2261"/>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4" name="MeetingPlanner_EBF2" title="Icon of a person in front of a calendar">
            <a:extLst>
              <a:ext uri="{FF2B5EF4-FFF2-40B4-BE49-F238E27FC236}">
                <a16:creationId xmlns:a16="http://schemas.microsoft.com/office/drawing/2014/main" id="{8F34D9D8-A81E-44BD-A045-D2CE25AB0945}"/>
              </a:ext>
            </a:extLst>
          </p:cNvPr>
          <p:cNvSpPr>
            <a:spLocks noChangeAspect="1" noEditPoints="1"/>
          </p:cNvSpPr>
          <p:nvPr/>
        </p:nvSpPr>
        <p:spPr bwMode="auto">
          <a:xfrm>
            <a:off x="731154" y="5274528"/>
            <a:ext cx="309340" cy="330177"/>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65" name="Teamwork_EA12" title="Icon of three people with an award or ribbon to the lower right">
            <a:extLst>
              <a:ext uri="{FF2B5EF4-FFF2-40B4-BE49-F238E27FC236}">
                <a16:creationId xmlns:a16="http://schemas.microsoft.com/office/drawing/2014/main" id="{B322D685-7046-40B5-8A12-B0CC67772F2B}"/>
              </a:ext>
            </a:extLst>
          </p:cNvPr>
          <p:cNvSpPr>
            <a:spLocks noChangeAspect="1" noEditPoints="1"/>
          </p:cNvSpPr>
          <p:nvPr/>
        </p:nvSpPr>
        <p:spPr bwMode="auto">
          <a:xfrm>
            <a:off x="711443" y="6107763"/>
            <a:ext cx="348762" cy="337272"/>
          </a:xfrm>
          <a:custGeom>
            <a:avLst/>
            <a:gdLst>
              <a:gd name="T0" fmla="*/ 3621 w 3746"/>
              <a:gd name="T1" fmla="*/ 2622 h 3621"/>
              <a:gd name="T2" fmla="*/ 3122 w 3746"/>
              <a:gd name="T3" fmla="*/ 3122 h 3621"/>
              <a:gd name="T4" fmla="*/ 2622 w 3746"/>
              <a:gd name="T5" fmla="*/ 2622 h 3621"/>
              <a:gd name="T6" fmla="*/ 3122 w 3746"/>
              <a:gd name="T7" fmla="*/ 2123 h 3621"/>
              <a:gd name="T8" fmla="*/ 3621 w 3746"/>
              <a:gd name="T9" fmla="*/ 2622 h 3621"/>
              <a:gd name="T10" fmla="*/ 2747 w 3746"/>
              <a:gd name="T11" fmla="*/ 2997 h 3621"/>
              <a:gd name="T12" fmla="*/ 2747 w 3746"/>
              <a:gd name="T13" fmla="*/ 3621 h 3621"/>
              <a:gd name="T14" fmla="*/ 3122 w 3746"/>
              <a:gd name="T15" fmla="*/ 3434 h 3621"/>
              <a:gd name="T16" fmla="*/ 3496 w 3746"/>
              <a:gd name="T17" fmla="*/ 3621 h 3621"/>
              <a:gd name="T18" fmla="*/ 3496 w 3746"/>
              <a:gd name="T19" fmla="*/ 2997 h 3621"/>
              <a:gd name="T20" fmla="*/ 1873 w 3746"/>
              <a:gd name="T21" fmla="*/ 749 h 3621"/>
              <a:gd name="T22" fmla="*/ 1249 w 3746"/>
              <a:gd name="T23" fmla="*/ 1374 h 3621"/>
              <a:gd name="T24" fmla="*/ 1873 w 3746"/>
              <a:gd name="T25" fmla="*/ 1998 h 3621"/>
              <a:gd name="T26" fmla="*/ 2497 w 3746"/>
              <a:gd name="T27" fmla="*/ 1374 h 3621"/>
              <a:gd name="T28" fmla="*/ 1873 w 3746"/>
              <a:gd name="T29" fmla="*/ 749 h 3621"/>
              <a:gd name="T30" fmla="*/ 1873 w 3746"/>
              <a:gd name="T31" fmla="*/ 1998 h 3621"/>
              <a:gd name="T32" fmla="*/ 999 w 3746"/>
              <a:gd name="T33" fmla="*/ 2872 h 3621"/>
              <a:gd name="T34" fmla="*/ 624 w 3746"/>
              <a:gd name="T35" fmla="*/ 0 h 3621"/>
              <a:gd name="T36" fmla="*/ 250 w 3746"/>
              <a:gd name="T37" fmla="*/ 375 h 3621"/>
              <a:gd name="T38" fmla="*/ 624 w 3746"/>
              <a:gd name="T39" fmla="*/ 749 h 3621"/>
              <a:gd name="T40" fmla="*/ 999 w 3746"/>
              <a:gd name="T41" fmla="*/ 375 h 3621"/>
              <a:gd name="T42" fmla="*/ 624 w 3746"/>
              <a:gd name="T43" fmla="*/ 0 h 3621"/>
              <a:gd name="T44" fmla="*/ 1249 w 3746"/>
              <a:gd name="T45" fmla="*/ 1374 h 3621"/>
              <a:gd name="T46" fmla="*/ 624 w 3746"/>
              <a:gd name="T47" fmla="*/ 749 h 3621"/>
              <a:gd name="T48" fmla="*/ 0 w 3746"/>
              <a:gd name="T49" fmla="*/ 1374 h 3621"/>
              <a:gd name="T50" fmla="*/ 3122 w 3746"/>
              <a:gd name="T51" fmla="*/ 0 h 3621"/>
              <a:gd name="T52" fmla="*/ 2747 w 3746"/>
              <a:gd name="T53" fmla="*/ 375 h 3621"/>
              <a:gd name="T54" fmla="*/ 3122 w 3746"/>
              <a:gd name="T55" fmla="*/ 749 h 3621"/>
              <a:gd name="T56" fmla="*/ 3496 w 3746"/>
              <a:gd name="T57" fmla="*/ 375 h 3621"/>
              <a:gd name="T58" fmla="*/ 3122 w 3746"/>
              <a:gd name="T59" fmla="*/ 0 h 3621"/>
              <a:gd name="T60" fmla="*/ 3746 w 3746"/>
              <a:gd name="T61" fmla="*/ 1374 h 3621"/>
              <a:gd name="T62" fmla="*/ 3122 w 3746"/>
              <a:gd name="T63" fmla="*/ 749 h 3621"/>
              <a:gd name="T64" fmla="*/ 2497 w 3746"/>
              <a:gd name="T65" fmla="*/ 1374 h 3621"/>
              <a:gd name="T66" fmla="*/ 2381 w 3746"/>
              <a:gd name="T67" fmla="*/ 2163 h 3621"/>
              <a:gd name="T68" fmla="*/ 1873 w 3746"/>
              <a:gd name="T69" fmla="*/ 1998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6" h="3621">
                <a:moveTo>
                  <a:pt x="3621" y="2622"/>
                </a:moveTo>
                <a:cubicBezTo>
                  <a:pt x="3621" y="2898"/>
                  <a:pt x="3398" y="3122"/>
                  <a:pt x="3122" y="3122"/>
                </a:cubicBezTo>
                <a:cubicBezTo>
                  <a:pt x="2846" y="3122"/>
                  <a:pt x="2622" y="2898"/>
                  <a:pt x="2622" y="2622"/>
                </a:cubicBezTo>
                <a:cubicBezTo>
                  <a:pt x="2622" y="2346"/>
                  <a:pt x="2846" y="2123"/>
                  <a:pt x="3122" y="2123"/>
                </a:cubicBezTo>
                <a:cubicBezTo>
                  <a:pt x="3398" y="2123"/>
                  <a:pt x="3621" y="2346"/>
                  <a:pt x="3621" y="2622"/>
                </a:cubicBezTo>
                <a:close/>
                <a:moveTo>
                  <a:pt x="2747" y="2997"/>
                </a:moveTo>
                <a:cubicBezTo>
                  <a:pt x="2747" y="3621"/>
                  <a:pt x="2747" y="3621"/>
                  <a:pt x="2747" y="3621"/>
                </a:cubicBezTo>
                <a:cubicBezTo>
                  <a:pt x="3122" y="3434"/>
                  <a:pt x="3122" y="3434"/>
                  <a:pt x="3122" y="3434"/>
                </a:cubicBezTo>
                <a:cubicBezTo>
                  <a:pt x="3496" y="3621"/>
                  <a:pt x="3496" y="3621"/>
                  <a:pt x="3496" y="3621"/>
                </a:cubicBezTo>
                <a:cubicBezTo>
                  <a:pt x="3496" y="2997"/>
                  <a:pt x="3496" y="2997"/>
                  <a:pt x="3496" y="2997"/>
                </a:cubicBezTo>
                <a:moveTo>
                  <a:pt x="1873" y="749"/>
                </a:moveTo>
                <a:cubicBezTo>
                  <a:pt x="1528" y="749"/>
                  <a:pt x="1249" y="1029"/>
                  <a:pt x="1249" y="1374"/>
                </a:cubicBezTo>
                <a:cubicBezTo>
                  <a:pt x="1249" y="1718"/>
                  <a:pt x="1528" y="1998"/>
                  <a:pt x="1873" y="1998"/>
                </a:cubicBezTo>
                <a:cubicBezTo>
                  <a:pt x="2218" y="1998"/>
                  <a:pt x="2497" y="1718"/>
                  <a:pt x="2497" y="1374"/>
                </a:cubicBezTo>
                <a:cubicBezTo>
                  <a:pt x="2497" y="1029"/>
                  <a:pt x="2218" y="749"/>
                  <a:pt x="1873" y="749"/>
                </a:cubicBezTo>
                <a:close/>
                <a:moveTo>
                  <a:pt x="1873" y="1998"/>
                </a:moveTo>
                <a:cubicBezTo>
                  <a:pt x="1390" y="1998"/>
                  <a:pt x="999" y="2389"/>
                  <a:pt x="999" y="2872"/>
                </a:cubicBezTo>
                <a:moveTo>
                  <a:pt x="624" y="0"/>
                </a:moveTo>
                <a:cubicBezTo>
                  <a:pt x="417" y="0"/>
                  <a:pt x="250" y="168"/>
                  <a:pt x="250" y="375"/>
                </a:cubicBezTo>
                <a:cubicBezTo>
                  <a:pt x="250" y="581"/>
                  <a:pt x="417" y="749"/>
                  <a:pt x="624" y="749"/>
                </a:cubicBezTo>
                <a:cubicBezTo>
                  <a:pt x="831" y="749"/>
                  <a:pt x="999" y="581"/>
                  <a:pt x="999" y="375"/>
                </a:cubicBezTo>
                <a:cubicBezTo>
                  <a:pt x="999" y="168"/>
                  <a:pt x="831" y="0"/>
                  <a:pt x="624" y="0"/>
                </a:cubicBezTo>
                <a:close/>
                <a:moveTo>
                  <a:pt x="1249" y="1374"/>
                </a:moveTo>
                <a:cubicBezTo>
                  <a:pt x="1249" y="1029"/>
                  <a:pt x="969" y="749"/>
                  <a:pt x="624" y="749"/>
                </a:cubicBezTo>
                <a:cubicBezTo>
                  <a:pt x="279" y="749"/>
                  <a:pt x="0" y="1029"/>
                  <a:pt x="0" y="1374"/>
                </a:cubicBezTo>
                <a:moveTo>
                  <a:pt x="3122" y="0"/>
                </a:moveTo>
                <a:cubicBezTo>
                  <a:pt x="2915" y="0"/>
                  <a:pt x="2747" y="168"/>
                  <a:pt x="2747" y="375"/>
                </a:cubicBezTo>
                <a:cubicBezTo>
                  <a:pt x="2747" y="581"/>
                  <a:pt x="2915" y="749"/>
                  <a:pt x="3122" y="749"/>
                </a:cubicBezTo>
                <a:cubicBezTo>
                  <a:pt x="3329" y="749"/>
                  <a:pt x="3496" y="581"/>
                  <a:pt x="3496" y="375"/>
                </a:cubicBezTo>
                <a:cubicBezTo>
                  <a:pt x="3496" y="168"/>
                  <a:pt x="3329" y="0"/>
                  <a:pt x="3122" y="0"/>
                </a:cubicBezTo>
                <a:close/>
                <a:moveTo>
                  <a:pt x="3746" y="1374"/>
                </a:moveTo>
                <a:cubicBezTo>
                  <a:pt x="3746" y="1029"/>
                  <a:pt x="3467" y="749"/>
                  <a:pt x="3122" y="749"/>
                </a:cubicBezTo>
                <a:cubicBezTo>
                  <a:pt x="2777" y="749"/>
                  <a:pt x="2497" y="1029"/>
                  <a:pt x="2497" y="1374"/>
                </a:cubicBezTo>
                <a:moveTo>
                  <a:pt x="2381" y="2163"/>
                </a:moveTo>
                <a:cubicBezTo>
                  <a:pt x="2238" y="2060"/>
                  <a:pt x="2063" y="1998"/>
                  <a:pt x="1873" y="1998"/>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2495134572"/>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Straight Connector 35">
            <a:extLst>
              <a:ext uri="{FF2B5EF4-FFF2-40B4-BE49-F238E27FC236}">
                <a16:creationId xmlns:a16="http://schemas.microsoft.com/office/drawing/2014/main" id="{A5E5995C-1FDF-40DD-9C65-2BFA85B3B535}"/>
              </a:ext>
            </a:extLst>
          </p:cNvPr>
          <p:cNvCxnSpPr>
            <a:cxnSpLocks/>
          </p:cNvCxnSpPr>
          <p:nvPr/>
        </p:nvCxnSpPr>
        <p:spPr>
          <a:xfrm>
            <a:off x="1395706" y="3439232"/>
            <a:ext cx="798426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68EB2D-2623-467B-87ED-FE8E09136557}"/>
              </a:ext>
            </a:extLst>
          </p:cNvPr>
          <p:cNvCxnSpPr>
            <a:cxnSpLocks/>
          </p:cNvCxnSpPr>
          <p:nvPr/>
        </p:nvCxnSpPr>
        <p:spPr>
          <a:xfrm>
            <a:off x="1395706" y="4491979"/>
            <a:ext cx="798426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B452D4-9BA6-492C-88A3-95DF79D17546}"/>
              </a:ext>
            </a:extLst>
          </p:cNvPr>
          <p:cNvCxnSpPr>
            <a:cxnSpLocks/>
          </p:cNvCxnSpPr>
          <p:nvPr/>
        </p:nvCxnSpPr>
        <p:spPr>
          <a:xfrm>
            <a:off x="1395706" y="5544726"/>
            <a:ext cx="798426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588263" y="457200"/>
            <a:ext cx="11018520" cy="553998"/>
          </a:xfrm>
        </p:spPr>
        <p:txBody>
          <a:bodyPr/>
          <a:lstStyle/>
          <a:p>
            <a:r>
              <a:rPr lang="en-US"/>
              <a:t>Deepen engagement</a:t>
            </a:r>
          </a:p>
        </p:txBody>
      </p:sp>
      <p:sp>
        <p:nvSpPr>
          <p:cNvPr id="20" name="TextBox 19" hidden="1">
            <a:extLst>
              <a:ext uri="{FF2B5EF4-FFF2-40B4-BE49-F238E27FC236}">
                <a16:creationId xmlns:a16="http://schemas.microsoft.com/office/drawing/2014/main" id="{9ADB331C-0312-45F0-BF08-83BC6E45AF1E}"/>
              </a:ext>
            </a:extLst>
          </p:cNvPr>
          <p:cNvSpPr txBox="1"/>
          <p:nvPr/>
        </p:nvSpPr>
        <p:spPr>
          <a:xfrm>
            <a:off x="588262" y="2782920"/>
            <a:ext cx="6774872" cy="369332"/>
          </a:xfrm>
          <a:prstGeom prst="rect">
            <a:avLst/>
          </a:prstGeom>
          <a:noFill/>
        </p:spPr>
        <p:txBody>
          <a:bodyPr wrap="square">
            <a:spAutoFit/>
          </a:bodyPr>
          <a:lstStyle/>
          <a:p>
            <a:pPr>
              <a:spcAft>
                <a:spcPts val="600"/>
              </a:spcAft>
            </a:pPr>
            <a:endParaRPr lang="en-US">
              <a:latin typeface="Segoe UI" panose="020B0502040204020203" pitchFamily="34" charset="0"/>
            </a:endParaRPr>
          </a:p>
        </p:txBody>
      </p:sp>
      <p:sp>
        <p:nvSpPr>
          <p:cNvPr id="8" name="Graphic 13">
            <a:extLst>
              <a:ext uri="{FF2B5EF4-FFF2-40B4-BE49-F238E27FC236}">
                <a16:creationId xmlns:a16="http://schemas.microsoft.com/office/drawing/2014/main" id="{AA9A1823-039D-4F22-8705-008737AE24CB}"/>
              </a:ext>
            </a:extLst>
          </p:cNvPr>
          <p:cNvSpPr/>
          <p:nvPr/>
        </p:nvSpPr>
        <p:spPr>
          <a:xfrm>
            <a:off x="6096001" y="0"/>
            <a:ext cx="6096000" cy="6580900"/>
          </a:xfrm>
          <a:custGeom>
            <a:avLst/>
            <a:gdLst>
              <a:gd name="connsiteX0" fmla="*/ 135710 w 4560167"/>
              <a:gd name="connsiteY0" fmla="*/ 0 h 4922901"/>
              <a:gd name="connsiteX1" fmla="*/ 4560168 w 4560167"/>
              <a:gd name="connsiteY1" fmla="*/ 0 h 4922901"/>
              <a:gd name="connsiteX2" fmla="*/ 4560168 w 4560167"/>
              <a:gd name="connsiteY2" fmla="*/ 4922902 h 4922901"/>
              <a:gd name="connsiteX3" fmla="*/ 2739464 w 4560167"/>
              <a:gd name="connsiteY3" fmla="*/ 4922902 h 4922901"/>
              <a:gd name="connsiteX4" fmla="*/ 2534390 w 4560167"/>
              <a:gd name="connsiteY4" fmla="*/ 4801362 h 4922901"/>
              <a:gd name="connsiteX5" fmla="*/ 16838 w 4560167"/>
              <a:gd name="connsiteY5" fmla="*/ 200692 h 4922901"/>
              <a:gd name="connsiteX6" fmla="*/ 135710 w 4560167"/>
              <a:gd name="connsiteY6" fmla="*/ 0 h 49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0167" h="4922901">
                <a:moveTo>
                  <a:pt x="135710" y="0"/>
                </a:moveTo>
                <a:lnTo>
                  <a:pt x="4560168" y="0"/>
                </a:lnTo>
                <a:lnTo>
                  <a:pt x="4560168" y="4922902"/>
                </a:lnTo>
                <a:lnTo>
                  <a:pt x="2739464" y="4922902"/>
                </a:lnTo>
                <a:cubicBezTo>
                  <a:pt x="2654025" y="4922902"/>
                  <a:pt x="2575348" y="4876324"/>
                  <a:pt x="2534390" y="4801362"/>
                </a:cubicBezTo>
                <a:lnTo>
                  <a:pt x="16838" y="200692"/>
                </a:lnTo>
                <a:cubicBezTo>
                  <a:pt x="-32597" y="110300"/>
                  <a:pt x="32744" y="0"/>
                  <a:pt x="135710" y="0"/>
                </a:cubicBezTo>
                <a:close/>
              </a:path>
            </a:pathLst>
          </a:custGeom>
          <a:solidFill>
            <a:schemeClr val="accent2"/>
          </a:solidFill>
          <a:ln w="9525" cap="flat">
            <a:noFill/>
            <a:prstDash val="solid"/>
            <a:miter/>
          </a:ln>
        </p:spPr>
        <p:txBody>
          <a:bodyPr rtlCol="0" anchor="ctr"/>
          <a:lstStyle/>
          <a:p>
            <a:endParaRPr lang="en-US"/>
          </a:p>
        </p:txBody>
      </p:sp>
      <p:sp>
        <p:nvSpPr>
          <p:cNvPr id="16" name="TextBox 15">
            <a:extLst>
              <a:ext uri="{FF2B5EF4-FFF2-40B4-BE49-F238E27FC236}">
                <a16:creationId xmlns:a16="http://schemas.microsoft.com/office/drawing/2014/main" id="{C1E9A93C-C6B3-46DE-A1EE-7DF25D92BB34}"/>
              </a:ext>
            </a:extLst>
          </p:cNvPr>
          <p:cNvSpPr txBox="1"/>
          <p:nvPr/>
        </p:nvSpPr>
        <p:spPr>
          <a:xfrm>
            <a:off x="1398316" y="2605082"/>
            <a:ext cx="5851834" cy="615553"/>
          </a:xfrm>
          <a:prstGeom prst="rect">
            <a:avLst/>
          </a:prstGeom>
          <a:noFill/>
        </p:spPr>
        <p:txBody>
          <a:bodyPr wrap="square" lIns="0" tIns="0" rIns="0" bIns="0" anchor="ctr">
            <a:spAutoFit/>
          </a:bodyPr>
          <a:lstStyle/>
          <a:p>
            <a:pPr>
              <a:spcAft>
                <a:spcPts val="600"/>
              </a:spcAft>
            </a:pPr>
            <a:r>
              <a:rPr lang="en-US" sz="2000"/>
              <a:t>Update examples and trainings often so employees can relate to them</a:t>
            </a:r>
          </a:p>
        </p:txBody>
      </p:sp>
      <p:sp>
        <p:nvSpPr>
          <p:cNvPr id="26" name="Oval 25">
            <a:extLst>
              <a:ext uri="{FF2B5EF4-FFF2-40B4-BE49-F238E27FC236}">
                <a16:creationId xmlns:a16="http://schemas.microsoft.com/office/drawing/2014/main" id="{0D599AE7-1721-485D-8739-33378BFB41C7}"/>
              </a:ext>
            </a:extLst>
          </p:cNvPr>
          <p:cNvSpPr>
            <a:spLocks/>
          </p:cNvSpPr>
          <p:nvPr/>
        </p:nvSpPr>
        <p:spPr bwMode="auto">
          <a:xfrm>
            <a:off x="588262" y="2611233"/>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7" name="TextBox 16">
            <a:extLst>
              <a:ext uri="{FF2B5EF4-FFF2-40B4-BE49-F238E27FC236}">
                <a16:creationId xmlns:a16="http://schemas.microsoft.com/office/drawing/2014/main" id="{D6BE19B5-7D7D-49EE-8333-E75807CF2CBD}"/>
              </a:ext>
            </a:extLst>
          </p:cNvPr>
          <p:cNvSpPr txBox="1"/>
          <p:nvPr/>
        </p:nvSpPr>
        <p:spPr>
          <a:xfrm>
            <a:off x="1398316" y="3657829"/>
            <a:ext cx="5851834" cy="615553"/>
          </a:xfrm>
          <a:prstGeom prst="rect">
            <a:avLst/>
          </a:prstGeom>
          <a:noFill/>
        </p:spPr>
        <p:txBody>
          <a:bodyPr wrap="square" lIns="0" tIns="0" rIns="0" bIns="0" anchor="ctr">
            <a:spAutoFit/>
          </a:bodyPr>
          <a:lstStyle/>
          <a:p>
            <a:pPr>
              <a:spcAft>
                <a:spcPts val="600"/>
              </a:spcAft>
            </a:pPr>
            <a:r>
              <a:rPr lang="en-US" sz="2000"/>
              <a:t>Add Microsoft Viva Learning training to onboarding employee training</a:t>
            </a:r>
          </a:p>
        </p:txBody>
      </p:sp>
      <p:sp>
        <p:nvSpPr>
          <p:cNvPr id="28" name="Oval 27">
            <a:extLst>
              <a:ext uri="{FF2B5EF4-FFF2-40B4-BE49-F238E27FC236}">
                <a16:creationId xmlns:a16="http://schemas.microsoft.com/office/drawing/2014/main" id="{78B9A115-08AC-4F37-AEDB-6C8381986888}"/>
              </a:ext>
            </a:extLst>
          </p:cNvPr>
          <p:cNvSpPr>
            <a:spLocks/>
          </p:cNvSpPr>
          <p:nvPr/>
        </p:nvSpPr>
        <p:spPr bwMode="auto">
          <a:xfrm>
            <a:off x="588262" y="3663980"/>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8" name="TextBox 17">
            <a:extLst>
              <a:ext uri="{FF2B5EF4-FFF2-40B4-BE49-F238E27FC236}">
                <a16:creationId xmlns:a16="http://schemas.microsoft.com/office/drawing/2014/main" id="{7A8F84DA-18D6-41CB-B037-F64F6D39B2F3}"/>
              </a:ext>
            </a:extLst>
          </p:cNvPr>
          <p:cNvSpPr txBox="1"/>
          <p:nvPr/>
        </p:nvSpPr>
        <p:spPr>
          <a:xfrm>
            <a:off x="1398315" y="4710576"/>
            <a:ext cx="6497455" cy="615553"/>
          </a:xfrm>
          <a:prstGeom prst="rect">
            <a:avLst/>
          </a:prstGeom>
          <a:noFill/>
        </p:spPr>
        <p:txBody>
          <a:bodyPr wrap="square" lIns="0" tIns="0" rIns="0" bIns="0" anchor="ctr">
            <a:spAutoFit/>
          </a:bodyPr>
          <a:lstStyle/>
          <a:p>
            <a:pPr>
              <a:spcAft>
                <a:spcPts val="600"/>
              </a:spcAft>
            </a:pPr>
            <a:r>
              <a:rPr lang="en-US" sz="2000"/>
              <a:t>Teach people to use the tools as a set –talk about Microsoft Teams and Microsoft Viva Learning together</a:t>
            </a:r>
          </a:p>
        </p:txBody>
      </p:sp>
      <p:sp>
        <p:nvSpPr>
          <p:cNvPr id="29" name="Oval 28">
            <a:extLst>
              <a:ext uri="{FF2B5EF4-FFF2-40B4-BE49-F238E27FC236}">
                <a16:creationId xmlns:a16="http://schemas.microsoft.com/office/drawing/2014/main" id="{2849992C-153E-4905-BD6A-EB7C5EC5F1AF}"/>
              </a:ext>
            </a:extLst>
          </p:cNvPr>
          <p:cNvSpPr>
            <a:spLocks/>
          </p:cNvSpPr>
          <p:nvPr/>
        </p:nvSpPr>
        <p:spPr bwMode="auto">
          <a:xfrm>
            <a:off x="588262" y="4716727"/>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extBox 18">
            <a:extLst>
              <a:ext uri="{FF2B5EF4-FFF2-40B4-BE49-F238E27FC236}">
                <a16:creationId xmlns:a16="http://schemas.microsoft.com/office/drawing/2014/main" id="{569B84CD-608B-462D-9253-48E0A657AF19}"/>
              </a:ext>
            </a:extLst>
          </p:cNvPr>
          <p:cNvSpPr txBox="1"/>
          <p:nvPr/>
        </p:nvSpPr>
        <p:spPr>
          <a:xfrm>
            <a:off x="1398316" y="5763323"/>
            <a:ext cx="7327900" cy="615553"/>
          </a:xfrm>
          <a:prstGeom prst="rect">
            <a:avLst/>
          </a:prstGeom>
          <a:noFill/>
        </p:spPr>
        <p:txBody>
          <a:bodyPr wrap="square" lIns="0" tIns="0" rIns="0" bIns="0" anchor="ctr">
            <a:spAutoFit/>
          </a:bodyPr>
          <a:lstStyle/>
          <a:p>
            <a:pPr>
              <a:spcAft>
                <a:spcPts val="600"/>
              </a:spcAft>
            </a:pPr>
            <a:r>
              <a:rPr lang="en-US" sz="2000"/>
              <a:t>Continue to find your Champions – advocates for change within the business – including executives, managers, and admins</a:t>
            </a:r>
          </a:p>
        </p:txBody>
      </p:sp>
      <p:sp>
        <p:nvSpPr>
          <p:cNvPr id="30" name="Oval 29">
            <a:extLst>
              <a:ext uri="{FF2B5EF4-FFF2-40B4-BE49-F238E27FC236}">
                <a16:creationId xmlns:a16="http://schemas.microsoft.com/office/drawing/2014/main" id="{A0A25AED-060B-418C-8A2F-9B52A884DAA4}"/>
              </a:ext>
            </a:extLst>
          </p:cNvPr>
          <p:cNvSpPr>
            <a:spLocks/>
          </p:cNvSpPr>
          <p:nvPr/>
        </p:nvSpPr>
        <p:spPr bwMode="auto">
          <a:xfrm>
            <a:off x="588262" y="5769474"/>
            <a:ext cx="603251" cy="603251"/>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44" name="Picture 43">
            <a:extLst>
              <a:ext uri="{FF2B5EF4-FFF2-40B4-BE49-F238E27FC236}">
                <a16:creationId xmlns:a16="http://schemas.microsoft.com/office/drawing/2014/main" id="{880648DF-7EB2-4A16-BC76-1D7DE74F7618}"/>
              </a:ext>
            </a:extLst>
          </p:cNvPr>
          <p:cNvPicPr>
            <a:picLocks noChangeAspect="1"/>
          </p:cNvPicPr>
          <p:nvPr/>
        </p:nvPicPr>
        <p:blipFill rotWithShape="1">
          <a:blip r:embed="rId3"/>
          <a:srcRect l="7855" t="7611" r="36342" b="41"/>
          <a:stretch/>
        </p:blipFill>
        <p:spPr>
          <a:xfrm>
            <a:off x="6227068" y="1"/>
            <a:ext cx="5962325" cy="6578025"/>
          </a:xfrm>
          <a:custGeom>
            <a:avLst/>
            <a:gdLst>
              <a:gd name="connsiteX0" fmla="*/ 181338 w 5962325"/>
              <a:gd name="connsiteY0" fmla="*/ 0 h 6578025"/>
              <a:gd name="connsiteX1" fmla="*/ 5962325 w 5962325"/>
              <a:gd name="connsiteY1" fmla="*/ 0 h 6578025"/>
              <a:gd name="connsiteX2" fmla="*/ 5962325 w 5962325"/>
              <a:gd name="connsiteY2" fmla="*/ 6578025 h 6578025"/>
              <a:gd name="connsiteX3" fmla="*/ 3660497 w 5962325"/>
              <a:gd name="connsiteY3" fmla="*/ 6578025 h 6578025"/>
              <a:gd name="connsiteX4" fmla="*/ 3386475 w 5962325"/>
              <a:gd name="connsiteY4" fmla="*/ 6415622 h 6578025"/>
              <a:gd name="connsiteX5" fmla="*/ 22500 w 5962325"/>
              <a:gd name="connsiteY5" fmla="*/ 268167 h 6578025"/>
              <a:gd name="connsiteX6" fmla="*/ 181338 w 5962325"/>
              <a:gd name="connsiteY6" fmla="*/ 0 h 657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2325" h="6578025">
                <a:moveTo>
                  <a:pt x="181338" y="0"/>
                </a:moveTo>
                <a:lnTo>
                  <a:pt x="5962325" y="0"/>
                </a:lnTo>
                <a:lnTo>
                  <a:pt x="5962325" y="6578025"/>
                </a:lnTo>
                <a:lnTo>
                  <a:pt x="3660497" y="6578025"/>
                </a:lnTo>
                <a:cubicBezTo>
                  <a:pt x="3546332" y="6578025"/>
                  <a:pt x="3441204" y="6515786"/>
                  <a:pt x="3386475" y="6415622"/>
                </a:cubicBezTo>
                <a:lnTo>
                  <a:pt x="22500" y="268167"/>
                </a:lnTo>
                <a:cubicBezTo>
                  <a:pt x="-43556" y="147384"/>
                  <a:pt x="43754" y="0"/>
                  <a:pt x="181338" y="0"/>
                </a:cubicBezTo>
                <a:close/>
              </a:path>
            </a:pathLst>
          </a:custGeom>
        </p:spPr>
      </p:pic>
      <p:sp>
        <p:nvSpPr>
          <p:cNvPr id="15" name="Freeform: Shape 14">
            <a:extLst>
              <a:ext uri="{FF2B5EF4-FFF2-40B4-BE49-F238E27FC236}">
                <a16:creationId xmlns:a16="http://schemas.microsoft.com/office/drawing/2014/main" id="{C70F7DB9-E28A-4A6D-8D9B-A79F694C045D}"/>
              </a:ext>
            </a:extLst>
          </p:cNvPr>
          <p:cNvSpPr/>
          <p:nvPr/>
        </p:nvSpPr>
        <p:spPr>
          <a:xfrm rot="10800000" flipV="1">
            <a:off x="1" y="1085852"/>
            <a:ext cx="8492233" cy="1301974"/>
          </a:xfrm>
          <a:custGeom>
            <a:avLst/>
            <a:gdLst>
              <a:gd name="connsiteX0" fmla="*/ 8492233 w 8492233"/>
              <a:gd name="connsiteY0" fmla="*/ 0 h 1301974"/>
              <a:gd name="connsiteX1" fmla="*/ 6809458 w 8492233"/>
              <a:gd name="connsiteY1" fmla="*/ 0 h 1301974"/>
              <a:gd name="connsiteX2" fmla="*/ 6158608 w 8492233"/>
              <a:gd name="connsiteY2" fmla="*/ 0 h 1301974"/>
              <a:gd name="connsiteX3" fmla="*/ 5222441 w 8492233"/>
              <a:gd name="connsiteY3" fmla="*/ 0 h 1301974"/>
              <a:gd name="connsiteX4" fmla="*/ 5146711 w 8492233"/>
              <a:gd name="connsiteY4" fmla="*/ 0 h 1301974"/>
              <a:gd name="connsiteX5" fmla="*/ 4475833 w 8492233"/>
              <a:gd name="connsiteY5" fmla="*/ 0 h 1301974"/>
              <a:gd name="connsiteX6" fmla="*/ 4052292 w 8492233"/>
              <a:gd name="connsiteY6" fmla="*/ 0 h 1301974"/>
              <a:gd name="connsiteX7" fmla="*/ 3539666 w 8492233"/>
              <a:gd name="connsiteY7" fmla="*/ 0 h 1301974"/>
              <a:gd name="connsiteX8" fmla="*/ 3463937 w 8492233"/>
              <a:gd name="connsiteY8" fmla="*/ 0 h 1301974"/>
              <a:gd name="connsiteX9" fmla="*/ 2888816 w 8492233"/>
              <a:gd name="connsiteY9" fmla="*/ 0 h 1301974"/>
              <a:gd name="connsiteX10" fmla="*/ 2813086 w 8492233"/>
              <a:gd name="connsiteY10" fmla="*/ 0 h 1301974"/>
              <a:gd name="connsiteX11" fmla="*/ 2369517 w 8492233"/>
              <a:gd name="connsiteY11" fmla="*/ 0 h 1301974"/>
              <a:gd name="connsiteX12" fmla="*/ 1718667 w 8492233"/>
              <a:gd name="connsiteY12" fmla="*/ 0 h 1301974"/>
              <a:gd name="connsiteX13" fmla="*/ 1206041 w 8492233"/>
              <a:gd name="connsiteY13" fmla="*/ 0 h 1301974"/>
              <a:gd name="connsiteX14" fmla="*/ 1130312 w 8492233"/>
              <a:gd name="connsiteY14" fmla="*/ 0 h 1301974"/>
              <a:gd name="connsiteX15" fmla="*/ 35892 w 8492233"/>
              <a:gd name="connsiteY15" fmla="*/ 0 h 1301974"/>
              <a:gd name="connsiteX16" fmla="*/ 4453 w 8492233"/>
              <a:gd name="connsiteY16" fmla="*/ 53078 h 1301974"/>
              <a:gd name="connsiteX17" fmla="*/ 670277 w 8492233"/>
              <a:gd name="connsiteY17" fmla="*/ 1269830 h 1301974"/>
              <a:gd name="connsiteX18" fmla="*/ 724514 w 8492233"/>
              <a:gd name="connsiteY18" fmla="*/ 1301974 h 1301974"/>
              <a:gd name="connsiteX19" fmla="*/ 1206041 w 8492233"/>
              <a:gd name="connsiteY19" fmla="*/ 1301974 h 1301974"/>
              <a:gd name="connsiteX20" fmla="*/ 1206041 w 8492233"/>
              <a:gd name="connsiteY20" fmla="*/ 1301973 h 1301974"/>
              <a:gd name="connsiteX21" fmla="*/ 2407287 w 8492233"/>
              <a:gd name="connsiteY21" fmla="*/ 1301973 h 1301974"/>
              <a:gd name="connsiteX22" fmla="*/ 2407288 w 8492233"/>
              <a:gd name="connsiteY22" fmla="*/ 1301974 h 1301974"/>
              <a:gd name="connsiteX23" fmla="*/ 2888816 w 8492233"/>
              <a:gd name="connsiteY23" fmla="*/ 1301974 h 1301974"/>
              <a:gd name="connsiteX24" fmla="*/ 2888816 w 8492233"/>
              <a:gd name="connsiteY24" fmla="*/ 1301973 h 1301974"/>
              <a:gd name="connsiteX25" fmla="*/ 3058136 w 8492233"/>
              <a:gd name="connsiteY25" fmla="*/ 1301973 h 1301974"/>
              <a:gd name="connsiteX26" fmla="*/ 3058139 w 8492233"/>
              <a:gd name="connsiteY26" fmla="*/ 1301974 h 1301974"/>
              <a:gd name="connsiteX27" fmla="*/ 3539666 w 8492233"/>
              <a:gd name="connsiteY27" fmla="*/ 1301974 h 1301974"/>
              <a:gd name="connsiteX28" fmla="*/ 3539666 w 8492233"/>
              <a:gd name="connsiteY28" fmla="*/ 1301973 h 1301974"/>
              <a:gd name="connsiteX29" fmla="*/ 4475833 w 8492233"/>
              <a:gd name="connsiteY29" fmla="*/ 1301973 h 1301974"/>
              <a:gd name="connsiteX30" fmla="*/ 4740912 w 8492233"/>
              <a:gd name="connsiteY30" fmla="*/ 1301973 h 1301974"/>
              <a:gd name="connsiteX31" fmla="*/ 4740913 w 8492233"/>
              <a:gd name="connsiteY31" fmla="*/ 1301974 h 1301974"/>
              <a:gd name="connsiteX32" fmla="*/ 5222441 w 8492233"/>
              <a:gd name="connsiteY32" fmla="*/ 1301974 h 1301974"/>
              <a:gd name="connsiteX33" fmla="*/ 5222441 w 8492233"/>
              <a:gd name="connsiteY33" fmla="*/ 1301973 h 1301974"/>
              <a:gd name="connsiteX34" fmla="*/ 6158608 w 8492233"/>
              <a:gd name="connsiteY34" fmla="*/ 1301973 h 1301974"/>
              <a:gd name="connsiteX35" fmla="*/ 6809458 w 8492233"/>
              <a:gd name="connsiteY35" fmla="*/ 1301973 h 1301974"/>
              <a:gd name="connsiteX36" fmla="*/ 8492233 w 8492233"/>
              <a:gd name="connsiteY36" fmla="*/ 1301973 h 130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492233" h="1301974">
                <a:moveTo>
                  <a:pt x="8492233" y="0"/>
                </a:moveTo>
                <a:lnTo>
                  <a:pt x="6809458" y="0"/>
                </a:lnTo>
                <a:lnTo>
                  <a:pt x="6158608" y="0"/>
                </a:lnTo>
                <a:lnTo>
                  <a:pt x="5222441" y="0"/>
                </a:lnTo>
                <a:lnTo>
                  <a:pt x="5146711" y="0"/>
                </a:lnTo>
                <a:lnTo>
                  <a:pt x="4475833" y="0"/>
                </a:lnTo>
                <a:lnTo>
                  <a:pt x="4052292" y="0"/>
                </a:lnTo>
                <a:lnTo>
                  <a:pt x="3539666" y="0"/>
                </a:lnTo>
                <a:lnTo>
                  <a:pt x="3463937" y="0"/>
                </a:lnTo>
                <a:lnTo>
                  <a:pt x="2888816" y="0"/>
                </a:lnTo>
                <a:lnTo>
                  <a:pt x="2813086" y="0"/>
                </a:lnTo>
                <a:lnTo>
                  <a:pt x="2369517" y="0"/>
                </a:lnTo>
                <a:lnTo>
                  <a:pt x="1718667" y="0"/>
                </a:lnTo>
                <a:lnTo>
                  <a:pt x="1206041" y="0"/>
                </a:lnTo>
                <a:lnTo>
                  <a:pt x="1130312" y="0"/>
                </a:lnTo>
                <a:lnTo>
                  <a:pt x="35892" y="0"/>
                </a:lnTo>
                <a:cubicBezTo>
                  <a:pt x="8660" y="0"/>
                  <a:pt x="-8621" y="29171"/>
                  <a:pt x="4453" y="53078"/>
                </a:cubicBezTo>
                <a:lnTo>
                  <a:pt x="670277" y="1269830"/>
                </a:lnTo>
                <a:cubicBezTo>
                  <a:pt x="681110" y="1289655"/>
                  <a:pt x="701917" y="1301974"/>
                  <a:pt x="724514" y="1301974"/>
                </a:cubicBezTo>
                <a:lnTo>
                  <a:pt x="1206041" y="1301974"/>
                </a:lnTo>
                <a:lnTo>
                  <a:pt x="1206041" y="1301973"/>
                </a:lnTo>
                <a:lnTo>
                  <a:pt x="2407287" y="1301973"/>
                </a:lnTo>
                <a:lnTo>
                  <a:pt x="2407288" y="1301974"/>
                </a:lnTo>
                <a:lnTo>
                  <a:pt x="2888816" y="1301974"/>
                </a:lnTo>
                <a:lnTo>
                  <a:pt x="2888816" y="1301973"/>
                </a:lnTo>
                <a:lnTo>
                  <a:pt x="3058136" y="1301973"/>
                </a:lnTo>
                <a:lnTo>
                  <a:pt x="3058139" y="1301974"/>
                </a:lnTo>
                <a:lnTo>
                  <a:pt x="3539666" y="1301974"/>
                </a:lnTo>
                <a:lnTo>
                  <a:pt x="3539666" y="1301973"/>
                </a:lnTo>
                <a:lnTo>
                  <a:pt x="4475833" y="1301973"/>
                </a:lnTo>
                <a:lnTo>
                  <a:pt x="4740912" y="1301973"/>
                </a:lnTo>
                <a:lnTo>
                  <a:pt x="4740913" y="1301974"/>
                </a:lnTo>
                <a:lnTo>
                  <a:pt x="5222441" y="1301974"/>
                </a:lnTo>
                <a:lnTo>
                  <a:pt x="5222441" y="1301973"/>
                </a:lnTo>
                <a:lnTo>
                  <a:pt x="6158608" y="1301973"/>
                </a:lnTo>
                <a:lnTo>
                  <a:pt x="6809458" y="1301973"/>
                </a:lnTo>
                <a:lnTo>
                  <a:pt x="8492233" y="1301973"/>
                </a:lnTo>
                <a:close/>
              </a:path>
            </a:pathLst>
          </a:custGeom>
          <a:solidFill>
            <a:schemeClr val="bg1">
              <a:lumMod val="95000"/>
            </a:schemeClr>
          </a:solidFill>
          <a:ln w="9525" cap="flat">
            <a:noFill/>
            <a:prstDash val="solid"/>
            <a:miter/>
          </a:ln>
        </p:spPr>
        <p:txBody>
          <a:bodyPr rtlCol="0" anchor="ctr"/>
          <a:lstStyle/>
          <a:p>
            <a:endParaRPr lang="en-US"/>
          </a:p>
        </p:txBody>
      </p:sp>
      <p:sp>
        <p:nvSpPr>
          <p:cNvPr id="13" name="Rectangle 12">
            <a:extLst>
              <a:ext uri="{FF2B5EF4-FFF2-40B4-BE49-F238E27FC236}">
                <a16:creationId xmlns:a16="http://schemas.microsoft.com/office/drawing/2014/main" id="{95B589D8-1B65-4BB9-8A04-0A66EB73F346}"/>
              </a:ext>
            </a:extLst>
          </p:cNvPr>
          <p:cNvSpPr/>
          <p:nvPr/>
        </p:nvSpPr>
        <p:spPr>
          <a:xfrm>
            <a:off x="588262" y="1136675"/>
            <a:ext cx="7142574" cy="1200329"/>
          </a:xfrm>
          <a:prstGeom prst="rect">
            <a:avLst/>
          </a:prstGeom>
        </p:spPr>
        <p:txBody>
          <a:bodyPr wrap="square" lIns="0" rIns="0" anchor="ctr">
            <a:spAutoFit/>
          </a:bodyPr>
          <a:lstStyle/>
          <a:p>
            <a:pPr marL="0" lvl="1" defTabSz="896181">
              <a:spcBef>
                <a:spcPts val="1200"/>
              </a:spcBef>
              <a:spcAft>
                <a:spcPts val="900"/>
              </a:spcAft>
              <a:buSzPct val="90000"/>
            </a:pPr>
            <a:r>
              <a:rPr lang="en-US" sz="2400">
                <a:latin typeface="+mj-lt"/>
                <a:cs typeface="Segoe UI" panose="020B0502040204020203" pitchFamily="34" charset="0"/>
              </a:rPr>
              <a:t>Cultural evolution is critical to adoption. Continuous adoption activities are the key to long term engagement. </a:t>
            </a:r>
          </a:p>
        </p:txBody>
      </p:sp>
      <p:sp>
        <p:nvSpPr>
          <p:cNvPr id="45" name="people_15" title="Icon of a person behind a podium">
            <a:extLst>
              <a:ext uri="{FF2B5EF4-FFF2-40B4-BE49-F238E27FC236}">
                <a16:creationId xmlns:a16="http://schemas.microsoft.com/office/drawing/2014/main" id="{766EE129-BFFD-4272-BC6E-BD2C2E7EDB25}"/>
              </a:ext>
            </a:extLst>
          </p:cNvPr>
          <p:cNvSpPr>
            <a:spLocks noChangeAspect="1" noEditPoints="1"/>
          </p:cNvSpPr>
          <p:nvPr/>
        </p:nvSpPr>
        <p:spPr bwMode="auto">
          <a:xfrm>
            <a:off x="739717" y="3782725"/>
            <a:ext cx="300340" cy="365760"/>
          </a:xfrm>
          <a:custGeom>
            <a:avLst/>
            <a:gdLst>
              <a:gd name="T0" fmla="*/ 95 w 278"/>
              <a:gd name="T1" fmla="*/ 44 h 340"/>
              <a:gd name="T2" fmla="*/ 139 w 278"/>
              <a:gd name="T3" fmla="*/ 0 h 340"/>
              <a:gd name="T4" fmla="*/ 184 w 278"/>
              <a:gd name="T5" fmla="*/ 44 h 340"/>
              <a:gd name="T6" fmla="*/ 139 w 278"/>
              <a:gd name="T7" fmla="*/ 89 h 340"/>
              <a:gd name="T8" fmla="*/ 95 w 278"/>
              <a:gd name="T9" fmla="*/ 44 h 340"/>
              <a:gd name="T10" fmla="*/ 211 w 278"/>
              <a:gd name="T11" fmla="*/ 160 h 340"/>
              <a:gd name="T12" fmla="*/ 139 w 278"/>
              <a:gd name="T13" fmla="*/ 89 h 340"/>
              <a:gd name="T14" fmla="*/ 68 w 278"/>
              <a:gd name="T15" fmla="*/ 160 h 340"/>
              <a:gd name="T16" fmla="*/ 45 w 278"/>
              <a:gd name="T17" fmla="*/ 160 h 340"/>
              <a:gd name="T18" fmla="*/ 45 w 278"/>
              <a:gd name="T19" fmla="*/ 340 h 340"/>
              <a:gd name="T20" fmla="*/ 234 w 278"/>
              <a:gd name="T21" fmla="*/ 340 h 340"/>
              <a:gd name="T22" fmla="*/ 234 w 278"/>
              <a:gd name="T23" fmla="*/ 160 h 340"/>
              <a:gd name="T24" fmla="*/ 0 w 278"/>
              <a:gd name="T25" fmla="*/ 160 h 340"/>
              <a:gd name="T26" fmla="*/ 278 w 278"/>
              <a:gd name="T27" fmla="*/ 16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340">
                <a:moveTo>
                  <a:pt x="95" y="44"/>
                </a:moveTo>
                <a:cubicBezTo>
                  <a:pt x="95" y="20"/>
                  <a:pt x="115" y="0"/>
                  <a:pt x="139" y="0"/>
                </a:cubicBezTo>
                <a:cubicBezTo>
                  <a:pt x="164" y="0"/>
                  <a:pt x="184" y="20"/>
                  <a:pt x="184" y="44"/>
                </a:cubicBezTo>
                <a:cubicBezTo>
                  <a:pt x="184" y="69"/>
                  <a:pt x="164" y="89"/>
                  <a:pt x="139" y="89"/>
                </a:cubicBezTo>
                <a:cubicBezTo>
                  <a:pt x="115" y="89"/>
                  <a:pt x="95" y="69"/>
                  <a:pt x="95" y="44"/>
                </a:cubicBezTo>
                <a:close/>
                <a:moveTo>
                  <a:pt x="211" y="160"/>
                </a:moveTo>
                <a:cubicBezTo>
                  <a:pt x="211" y="121"/>
                  <a:pt x="179" y="89"/>
                  <a:pt x="139" y="89"/>
                </a:cubicBezTo>
                <a:cubicBezTo>
                  <a:pt x="100" y="89"/>
                  <a:pt x="68" y="121"/>
                  <a:pt x="68" y="160"/>
                </a:cubicBezTo>
                <a:moveTo>
                  <a:pt x="45" y="160"/>
                </a:moveTo>
                <a:cubicBezTo>
                  <a:pt x="45" y="340"/>
                  <a:pt x="45" y="340"/>
                  <a:pt x="45" y="340"/>
                </a:cubicBezTo>
                <a:cubicBezTo>
                  <a:pt x="234" y="340"/>
                  <a:pt x="234" y="340"/>
                  <a:pt x="234" y="340"/>
                </a:cubicBezTo>
                <a:cubicBezTo>
                  <a:pt x="234" y="160"/>
                  <a:pt x="234" y="160"/>
                  <a:pt x="234" y="160"/>
                </a:cubicBezTo>
                <a:moveTo>
                  <a:pt x="0" y="160"/>
                </a:moveTo>
                <a:cubicBezTo>
                  <a:pt x="278" y="160"/>
                  <a:pt x="278" y="160"/>
                  <a:pt x="278" y="16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6" name="Ribbon2_F19B" title="Icon of a star shaped ribbon">
            <a:extLst>
              <a:ext uri="{FF2B5EF4-FFF2-40B4-BE49-F238E27FC236}">
                <a16:creationId xmlns:a16="http://schemas.microsoft.com/office/drawing/2014/main" id="{5F7BA561-DBC0-4F3F-992A-6C22B28B4BCB}"/>
              </a:ext>
            </a:extLst>
          </p:cNvPr>
          <p:cNvSpPr>
            <a:spLocks noChangeAspect="1" noEditPoints="1"/>
          </p:cNvSpPr>
          <p:nvPr/>
        </p:nvSpPr>
        <p:spPr bwMode="auto">
          <a:xfrm>
            <a:off x="739718" y="5860778"/>
            <a:ext cx="300340" cy="420642"/>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8" name="Website" title="Icon of multiple app windows">
            <a:extLst>
              <a:ext uri="{FF2B5EF4-FFF2-40B4-BE49-F238E27FC236}">
                <a16:creationId xmlns:a16="http://schemas.microsoft.com/office/drawing/2014/main" id="{872D3DA4-88D0-431D-935D-F1C528C773DA}"/>
              </a:ext>
            </a:extLst>
          </p:cNvPr>
          <p:cNvSpPr>
            <a:spLocks noChangeAspect="1" noEditPoints="1"/>
          </p:cNvSpPr>
          <p:nvPr/>
        </p:nvSpPr>
        <p:spPr bwMode="auto">
          <a:xfrm>
            <a:off x="726738" y="4875398"/>
            <a:ext cx="326298" cy="285909"/>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9" name="Touchscreen" title="Icon of a closed hand with one finger touching a screen">
            <a:extLst>
              <a:ext uri="{FF2B5EF4-FFF2-40B4-BE49-F238E27FC236}">
                <a16:creationId xmlns:a16="http://schemas.microsoft.com/office/drawing/2014/main" id="{26066F53-AD25-44B3-AAA4-974BB2119D52}"/>
              </a:ext>
            </a:extLst>
          </p:cNvPr>
          <p:cNvSpPr>
            <a:spLocks noChangeAspect="1" noEditPoints="1"/>
          </p:cNvSpPr>
          <p:nvPr/>
        </p:nvSpPr>
        <p:spPr bwMode="auto">
          <a:xfrm>
            <a:off x="722666" y="2756072"/>
            <a:ext cx="334442" cy="313572"/>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899223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A1EE3B-B758-4844-A243-F5E75EAC4E8D}"/>
              </a:ext>
              <a:ext uri="{C183D7F6-B498-43B3-948B-1728B52AA6E4}">
                <adec:decorative xmlns:adec="http://schemas.microsoft.com/office/drawing/2017/decorative" val="1"/>
              </a:ext>
            </a:extLst>
          </p:cNvPr>
          <p:cNvSpPr/>
          <p:nvPr/>
        </p:nvSpPr>
        <p:spPr bwMode="white">
          <a:xfrm>
            <a:off x="609601" y="-2"/>
            <a:ext cx="11582399" cy="68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82AD2E4A-3C57-40F7-8A60-0AD6B9EA998C}"/>
              </a:ext>
            </a:extLst>
          </p:cNvPr>
          <p:cNvGrpSpPr/>
          <p:nvPr/>
        </p:nvGrpSpPr>
        <p:grpSpPr>
          <a:xfrm>
            <a:off x="6882384" y="-1"/>
            <a:ext cx="5309616" cy="6858001"/>
            <a:chOff x="6882384" y="-1"/>
            <a:chExt cx="5309616" cy="6858001"/>
          </a:xfrm>
        </p:grpSpPr>
        <p:pic>
          <p:nvPicPr>
            <p:cNvPr id="14" name="Graphic 13" descr="Viva graphic">
              <a:extLst>
                <a:ext uri="{FF2B5EF4-FFF2-40B4-BE49-F238E27FC236}">
                  <a16:creationId xmlns:a16="http://schemas.microsoft.com/office/drawing/2014/main" id="{D81B13CB-DD7D-4199-90F6-BCBE4679B7C9}"/>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 t="37067" r="63457" b="24387"/>
            <a:stretch/>
          </p:blipFill>
          <p:spPr bwMode="ltGray">
            <a:xfrm>
              <a:off x="6882384" y="1257299"/>
              <a:ext cx="5309616" cy="5600701"/>
            </a:xfrm>
            <a:prstGeom prst="rect">
              <a:avLst/>
            </a:prstGeom>
          </p:spPr>
        </p:pic>
        <p:pic>
          <p:nvPicPr>
            <p:cNvPr id="15" name="Graphic 14" descr="Viva graphic">
              <a:extLst>
                <a:ext uri="{FF2B5EF4-FFF2-40B4-BE49-F238E27FC236}">
                  <a16:creationId xmlns:a16="http://schemas.microsoft.com/office/drawing/2014/main" id="{53AE230C-92AC-4825-B8EB-8F8B34B8B8E8}"/>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19363" r="63456" b="59769"/>
            <a:stretch/>
          </p:blipFill>
          <p:spPr bwMode="ltGray">
            <a:xfrm>
              <a:off x="6882384" y="-1"/>
              <a:ext cx="5309616" cy="3032125"/>
            </a:xfrm>
            <a:prstGeom prst="rect">
              <a:avLst/>
            </a:prstGeom>
          </p:spPr>
        </p:pic>
      </p:grpSp>
      <p:sp>
        <p:nvSpPr>
          <p:cNvPr id="6" name="Rectangle 5">
            <a:extLst>
              <a:ext uri="{FF2B5EF4-FFF2-40B4-BE49-F238E27FC236}">
                <a16:creationId xmlns:a16="http://schemas.microsoft.com/office/drawing/2014/main" id="{7DBAF429-BE7B-468B-A880-A685D6BD2474}"/>
              </a:ext>
              <a:ext uri="{C183D7F6-B498-43B3-948B-1728B52AA6E4}">
                <adec:decorative xmlns:adec="http://schemas.microsoft.com/office/drawing/2017/decorative" val="1"/>
              </a:ext>
            </a:extLst>
          </p:cNvPr>
          <p:cNvSpPr/>
          <p:nvPr/>
        </p:nvSpPr>
        <p:spPr bwMode="white">
          <a:xfrm>
            <a:off x="1" y="0"/>
            <a:ext cx="609600" cy="686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idx="4294967295"/>
          </p:nvPr>
        </p:nvSpPr>
        <p:spPr>
          <a:xfrm>
            <a:off x="1458913" y="3059113"/>
            <a:ext cx="10733087" cy="739775"/>
          </a:xfrm>
        </p:spPr>
        <p:txBody>
          <a:bodyPr anchor="ctr"/>
          <a:lstStyle/>
          <a:p>
            <a:r>
              <a:rPr lang="en-US" sz="4800" noProof="0"/>
              <a:t>Resources</a:t>
            </a:r>
            <a:endParaRPr lang="en-US" sz="4000">
              <a:latin typeface="+mn-lt"/>
            </a:endParaRPr>
          </a:p>
        </p:txBody>
      </p:sp>
    </p:spTree>
    <p:extLst>
      <p:ext uri="{BB962C8B-B14F-4D97-AF65-F5344CB8AC3E}">
        <p14:creationId xmlns:p14="http://schemas.microsoft.com/office/powerpoint/2010/main" val="347218873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Arrow: Bent 37">
            <a:extLst>
              <a:ext uri="{FF2B5EF4-FFF2-40B4-BE49-F238E27FC236}">
                <a16:creationId xmlns:a16="http://schemas.microsoft.com/office/drawing/2014/main" id="{62EF74CA-CB6F-47D9-AADB-EEC1DACD6E24}"/>
              </a:ext>
            </a:extLst>
          </p:cNvPr>
          <p:cNvSpPr/>
          <p:nvPr/>
        </p:nvSpPr>
        <p:spPr bwMode="auto">
          <a:xfrm rot="16200000">
            <a:off x="6935724" y="-989077"/>
            <a:ext cx="4267207" cy="6245348"/>
          </a:xfrm>
          <a:prstGeom prst="bentArrow">
            <a:avLst>
              <a:gd name="adj1" fmla="val 25000"/>
              <a:gd name="adj2" fmla="val 0"/>
              <a:gd name="adj3" fmla="val 25000"/>
              <a:gd name="adj4" fmla="val 2257"/>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7" name="Rectangle 16">
            <a:extLst>
              <a:ext uri="{FF2B5EF4-FFF2-40B4-BE49-F238E27FC236}">
                <a16:creationId xmlns:a16="http://schemas.microsoft.com/office/drawing/2014/main" id="{ABD700F1-87B0-4AC9-9C98-15ECF34B313D}"/>
              </a:ext>
            </a:extLst>
          </p:cNvPr>
          <p:cNvSpPr/>
          <p:nvPr/>
        </p:nvSpPr>
        <p:spPr bwMode="auto">
          <a:xfrm>
            <a:off x="642722" y="1225207"/>
            <a:ext cx="4778245" cy="6737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6">
            <a:extLst>
              <a:ext uri="{FF2B5EF4-FFF2-40B4-BE49-F238E27FC236}">
                <a16:creationId xmlns:a16="http://schemas.microsoft.com/office/drawing/2014/main" id="{02427551-F3F4-4627-93C3-F9AD61A99E36}"/>
              </a:ext>
            </a:extLst>
          </p:cNvPr>
          <p:cNvSpPr>
            <a:spLocks noGrp="1"/>
          </p:cNvSpPr>
          <p:nvPr>
            <p:ph type="title"/>
          </p:nvPr>
        </p:nvSpPr>
        <p:spPr>
          <a:xfrm>
            <a:off x="588263" y="457200"/>
            <a:ext cx="11018520" cy="553998"/>
          </a:xfrm>
        </p:spPr>
        <p:txBody>
          <a:bodyPr/>
          <a:lstStyle/>
          <a:p>
            <a:r>
              <a:rPr lang="en-US"/>
              <a:t>Other resources</a:t>
            </a:r>
          </a:p>
        </p:txBody>
      </p:sp>
      <p:sp>
        <p:nvSpPr>
          <p:cNvPr id="12" name="Arrow: Bent 11">
            <a:extLst>
              <a:ext uri="{FF2B5EF4-FFF2-40B4-BE49-F238E27FC236}">
                <a16:creationId xmlns:a16="http://schemas.microsoft.com/office/drawing/2014/main" id="{DFBA7128-6410-407B-A9D1-1160DD4E1E70}"/>
              </a:ext>
            </a:extLst>
          </p:cNvPr>
          <p:cNvSpPr/>
          <p:nvPr/>
        </p:nvSpPr>
        <p:spPr bwMode="auto">
          <a:xfrm rot="5400000">
            <a:off x="-1112248" y="2222576"/>
            <a:ext cx="2833053" cy="588263"/>
          </a:xfrm>
          <a:prstGeom prst="bentArrow">
            <a:avLst>
              <a:gd name="adj1" fmla="val 25000"/>
              <a:gd name="adj2" fmla="val 0"/>
              <a:gd name="adj3" fmla="val 25000"/>
              <a:gd name="adj4" fmla="val 13158"/>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19" name="Rectangle 18">
            <a:extLst>
              <a:ext uri="{FF2B5EF4-FFF2-40B4-BE49-F238E27FC236}">
                <a16:creationId xmlns:a16="http://schemas.microsoft.com/office/drawing/2014/main" id="{A7B6DFAA-BA2C-4583-94BD-65D7F94F4883}"/>
              </a:ext>
            </a:extLst>
          </p:cNvPr>
          <p:cNvSpPr/>
          <p:nvPr/>
        </p:nvSpPr>
        <p:spPr bwMode="auto">
          <a:xfrm>
            <a:off x="1199924" y="1285077"/>
            <a:ext cx="3818788" cy="5539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R="0" lvl="0" defTabSz="914400" rtl="0" eaLnBrk="1" fontAlgn="auto" latinLnBrk="0" hangingPunct="1">
              <a:spcBef>
                <a:spcPts val="0"/>
              </a:spcBef>
              <a:spcAft>
                <a:spcPts val="800"/>
              </a:spcAft>
              <a:buClrTx/>
              <a:buSzTx/>
              <a:buFontTx/>
              <a:buNone/>
              <a:tabLst/>
              <a:defRPr/>
            </a:pPr>
            <a:r>
              <a:rPr kumimoji="0" lang="en-US" b="0" i="0" u="none" strike="noStrike" kern="1200" cap="none" spc="0" normalizeH="0" baseline="0" noProof="0">
                <a:ln>
                  <a:noFill/>
                </a:ln>
                <a:solidFill>
                  <a:schemeClr val="accent1"/>
                </a:solidFill>
                <a:effectLst/>
                <a:uLnTx/>
                <a:uFillTx/>
                <a:latin typeface="Segoe UI Semibold"/>
                <a:ea typeface="+mn-ea"/>
                <a:cs typeface="+mn-cs"/>
              </a:rPr>
              <a:t>Understand Employee Experience and the Viva Platform</a:t>
            </a:r>
          </a:p>
        </p:txBody>
      </p:sp>
      <p:sp>
        <p:nvSpPr>
          <p:cNvPr id="16" name="Arrow: U-Turn 15">
            <a:extLst>
              <a:ext uri="{FF2B5EF4-FFF2-40B4-BE49-F238E27FC236}">
                <a16:creationId xmlns:a16="http://schemas.microsoft.com/office/drawing/2014/main" id="{94780811-0A8A-4F7F-97BF-CFEA1C297777}"/>
              </a:ext>
            </a:extLst>
          </p:cNvPr>
          <p:cNvSpPr/>
          <p:nvPr/>
        </p:nvSpPr>
        <p:spPr bwMode="auto">
          <a:xfrm rot="10800000">
            <a:off x="598412" y="2684207"/>
            <a:ext cx="217981" cy="3769024"/>
          </a:xfrm>
          <a:prstGeom prst="uturnArrow">
            <a:avLst>
              <a:gd name="adj1" fmla="val 25000"/>
              <a:gd name="adj2" fmla="val 0"/>
              <a:gd name="adj3" fmla="val 0"/>
              <a:gd name="adj4" fmla="val 50000"/>
              <a:gd name="adj5" fmla="val 100000"/>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1" name="Arrow: Bent 20">
            <a:extLst>
              <a:ext uri="{FF2B5EF4-FFF2-40B4-BE49-F238E27FC236}">
                <a16:creationId xmlns:a16="http://schemas.microsoft.com/office/drawing/2014/main" id="{57D361D9-EA59-4C95-AB59-CE56659F16A2}"/>
              </a:ext>
            </a:extLst>
          </p:cNvPr>
          <p:cNvSpPr/>
          <p:nvPr/>
        </p:nvSpPr>
        <p:spPr bwMode="auto">
          <a:xfrm rot="16200000" flipH="1">
            <a:off x="1646282" y="270293"/>
            <a:ext cx="2833053" cy="4492832"/>
          </a:xfrm>
          <a:prstGeom prst="bentArrow">
            <a:avLst>
              <a:gd name="adj1" fmla="val 25000"/>
              <a:gd name="adj2" fmla="val 0"/>
              <a:gd name="adj3" fmla="val 25000"/>
              <a:gd name="adj4" fmla="val 2746"/>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2" name="Arrow: Bent 21">
            <a:extLst>
              <a:ext uri="{FF2B5EF4-FFF2-40B4-BE49-F238E27FC236}">
                <a16:creationId xmlns:a16="http://schemas.microsoft.com/office/drawing/2014/main" id="{9CE17C6B-AF37-4E4C-8FB9-2D2B12DEFBFB}"/>
              </a:ext>
            </a:extLst>
          </p:cNvPr>
          <p:cNvSpPr/>
          <p:nvPr/>
        </p:nvSpPr>
        <p:spPr bwMode="auto">
          <a:xfrm rot="5400000">
            <a:off x="2247925" y="3684959"/>
            <a:ext cx="5757820" cy="588263"/>
          </a:xfrm>
          <a:prstGeom prst="bentArrow">
            <a:avLst>
              <a:gd name="adj1" fmla="val 25000"/>
              <a:gd name="adj2" fmla="val 0"/>
              <a:gd name="adj3" fmla="val 25000"/>
              <a:gd name="adj4" fmla="val 13158"/>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sp>
        <p:nvSpPr>
          <p:cNvPr id="26" name="Oval 25">
            <a:extLst>
              <a:ext uri="{FF2B5EF4-FFF2-40B4-BE49-F238E27FC236}">
                <a16:creationId xmlns:a16="http://schemas.microsoft.com/office/drawing/2014/main" id="{930335DB-A5E1-40AB-A831-A64C7A566EDB}"/>
              </a:ext>
            </a:extLst>
          </p:cNvPr>
          <p:cNvSpPr/>
          <p:nvPr/>
        </p:nvSpPr>
        <p:spPr bwMode="auto">
          <a:xfrm>
            <a:off x="390824" y="1245499"/>
            <a:ext cx="633156" cy="633154"/>
          </a:xfrm>
          <a:prstGeom prst="ellipse">
            <a:avLst/>
          </a:prstGeom>
          <a:solidFill>
            <a:schemeClr val="bg1"/>
          </a:solidFill>
          <a:ln w="1270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err="1">
              <a:gradFill>
                <a:gsLst>
                  <a:gs pos="0">
                    <a:srgbClr val="505050"/>
                  </a:gs>
                  <a:gs pos="100000">
                    <a:srgbClr val="505050"/>
                  </a:gs>
                </a:gsLst>
                <a:lin ang="5400000" scaled="1"/>
              </a:gradFill>
            </a:endParaRPr>
          </a:p>
        </p:txBody>
      </p:sp>
      <p:sp>
        <p:nvSpPr>
          <p:cNvPr id="28" name="TextBox 27">
            <a:extLst>
              <a:ext uri="{FF2B5EF4-FFF2-40B4-BE49-F238E27FC236}">
                <a16:creationId xmlns:a16="http://schemas.microsoft.com/office/drawing/2014/main" id="{02BBB2F3-3BEB-4CC2-A1BF-67F01DF189B5}"/>
              </a:ext>
            </a:extLst>
          </p:cNvPr>
          <p:cNvSpPr txBox="1"/>
          <p:nvPr/>
        </p:nvSpPr>
        <p:spPr>
          <a:xfrm>
            <a:off x="930914" y="1965014"/>
            <a:ext cx="4403235" cy="2177519"/>
          </a:xfrm>
          <a:prstGeom prst="rect">
            <a:avLst/>
          </a:prstGeom>
          <a:noFill/>
        </p:spPr>
        <p:txBody>
          <a:bodyPr wrap="square" lIns="0" rIns="91440">
            <a:spAutoFit/>
          </a:bodyPr>
          <a:lstStyle/>
          <a:p>
            <a:pPr marL="206375" marR="0" lvl="0" indent="-206375" algn="l" defTabSz="914400" rtl="0" eaLnBrk="1" fontAlgn="auto" latinLnBrk="0" hangingPunct="1">
              <a:spcBef>
                <a:spcPts val="0"/>
              </a:spcBef>
              <a:spcAft>
                <a:spcPts val="9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a:ea typeface="+mn-ea"/>
                <a:cs typeface="Segoe UI"/>
              </a:rPr>
              <a:t>An Employee Experience Platform (EXP) is a system of experiences that help organizations create a thriving culture with engaged employees and inspiring leaders. </a:t>
            </a:r>
            <a:r>
              <a:rPr kumimoji="0" lang="en-US" sz="1600" i="0" u="none" strike="noStrike" kern="1200" cap="none" spc="0" normalizeH="0" baseline="0" noProof="0">
                <a:ln>
                  <a:noFill/>
                </a:ln>
                <a:effectLst/>
                <a:uLnTx/>
                <a:uFillTx/>
                <a:latin typeface="+mj-lt"/>
                <a:ea typeface="+mn-ea"/>
                <a:cs typeface="+mn-cs"/>
                <a:hlinkClick r:id="rId3"/>
              </a:rPr>
              <a:t>Read Josh Bersin’s introduction</a:t>
            </a:r>
            <a:r>
              <a:rPr kumimoji="0" lang="en-US" sz="1600" i="0" u="none" strike="noStrike" kern="1200" cap="none" spc="0" normalizeH="0" baseline="0" noProof="0">
                <a:ln>
                  <a:noFill/>
                </a:ln>
                <a:effectLst/>
                <a:uLnTx/>
                <a:uFillTx/>
                <a:latin typeface="+mj-lt"/>
                <a:ea typeface="+mn-ea"/>
                <a:cs typeface="+mn-cs"/>
              </a:rPr>
              <a:t> for a helpful overview</a:t>
            </a:r>
          </a:p>
          <a:p>
            <a:pPr marL="206375" marR="0" lvl="0" indent="-206375" algn="l" defTabSz="914400" rtl="0" eaLnBrk="1" fontAlgn="auto" latinLnBrk="0" hangingPunct="1">
              <a:spcBef>
                <a:spcPts val="0"/>
              </a:spcBef>
              <a:spcAft>
                <a:spcPts val="90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Segoe UI"/>
                <a:ea typeface="+mn-ea"/>
                <a:cs typeface="Segoe UI"/>
              </a:rPr>
              <a:t>Microsoft Viva </a:t>
            </a:r>
            <a:r>
              <a:rPr kumimoji="0" lang="en-US" sz="1600" b="0" i="0" u="none" strike="noStrike" kern="1200" cap="none" spc="0" normalizeH="0" baseline="0" noProof="0">
                <a:ln>
                  <a:noFill/>
                </a:ln>
                <a:effectLst/>
                <a:uLnTx/>
                <a:uFillTx/>
                <a:latin typeface="Segoe UI"/>
                <a:ea typeface="+mn-ea"/>
                <a:cs typeface="+mn-cs"/>
              </a:rPr>
              <a:t>is Microsoft’s Employee Experience Platform. </a:t>
            </a:r>
            <a:r>
              <a:rPr kumimoji="0" lang="en-US" sz="1600" i="0" u="none" strike="noStrike" kern="1200" cap="none" spc="0" normalizeH="0" baseline="0" noProof="0">
                <a:ln>
                  <a:noFill/>
                </a:ln>
                <a:effectLst/>
                <a:uLnTx/>
                <a:uFillTx/>
                <a:latin typeface="+mj-lt"/>
                <a:ea typeface="+mn-ea"/>
                <a:cs typeface="+mn-cs"/>
              </a:rPr>
              <a:t>Read the </a:t>
            </a:r>
            <a:r>
              <a:rPr kumimoji="0" lang="en-US" sz="1600" i="0" u="none" strike="noStrike" kern="1200" cap="none" spc="0" normalizeH="0" baseline="0" noProof="0" err="1">
                <a:ln>
                  <a:noFill/>
                </a:ln>
                <a:solidFill>
                  <a:schemeClr val="accent1"/>
                </a:solidFill>
                <a:effectLst/>
                <a:uLnTx/>
                <a:uFillTx/>
                <a:latin typeface="+mj-lt"/>
                <a:ea typeface="+mn-ea"/>
                <a:cs typeface="+mn-cs"/>
                <a:hlinkClick r:id="rId4">
                  <a:extLst>
                    <a:ext uri="{A12FA001-AC4F-418D-AE19-62706E023703}">
                      <ahyp:hlinkClr xmlns:ahyp="http://schemas.microsoft.com/office/drawing/2018/hyperlinkcolor" val="tx"/>
                    </a:ext>
                  </a:extLst>
                </a:hlinkClick>
              </a:rPr>
              <a:t>ebook</a:t>
            </a:r>
            <a:r>
              <a:rPr kumimoji="0" lang="en-US" sz="1600" i="0" u="none" strike="noStrike" kern="1200" cap="none" spc="0" normalizeH="0" baseline="0" noProof="0">
                <a:ln>
                  <a:noFill/>
                </a:ln>
                <a:effectLst/>
                <a:uLnTx/>
                <a:uFillTx/>
                <a:latin typeface="+mj-lt"/>
                <a:ea typeface="+mn-ea"/>
                <a:cs typeface="+mn-cs"/>
              </a:rPr>
              <a:t> for more information on Microsoft Viva</a:t>
            </a:r>
          </a:p>
        </p:txBody>
      </p:sp>
      <p:sp>
        <p:nvSpPr>
          <p:cNvPr id="41" name="Rectangle 40">
            <a:extLst>
              <a:ext uri="{FF2B5EF4-FFF2-40B4-BE49-F238E27FC236}">
                <a16:creationId xmlns:a16="http://schemas.microsoft.com/office/drawing/2014/main" id="{A4E0BB8C-5BDD-4E9E-8F10-928B5A584287}"/>
              </a:ext>
            </a:extLst>
          </p:cNvPr>
          <p:cNvSpPr/>
          <p:nvPr/>
        </p:nvSpPr>
        <p:spPr bwMode="auto">
          <a:xfrm>
            <a:off x="5995274" y="465568"/>
            <a:ext cx="6245347" cy="6331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0" name="Oval 39">
            <a:extLst>
              <a:ext uri="{FF2B5EF4-FFF2-40B4-BE49-F238E27FC236}">
                <a16:creationId xmlns:a16="http://schemas.microsoft.com/office/drawing/2014/main" id="{9D191D59-61B3-4FF6-BC07-9BA7332D30E0}"/>
              </a:ext>
            </a:extLst>
          </p:cNvPr>
          <p:cNvSpPr/>
          <p:nvPr/>
        </p:nvSpPr>
        <p:spPr bwMode="auto">
          <a:xfrm>
            <a:off x="5683459" y="465568"/>
            <a:ext cx="633156" cy="633154"/>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sp>
        <p:nvSpPr>
          <p:cNvPr id="42" name="Rectangle 41">
            <a:extLst>
              <a:ext uri="{FF2B5EF4-FFF2-40B4-BE49-F238E27FC236}">
                <a16:creationId xmlns:a16="http://schemas.microsoft.com/office/drawing/2014/main" id="{51E1EC50-13DC-4829-B9E4-D05888143F0B}"/>
              </a:ext>
            </a:extLst>
          </p:cNvPr>
          <p:cNvSpPr/>
          <p:nvPr/>
        </p:nvSpPr>
        <p:spPr bwMode="auto">
          <a:xfrm>
            <a:off x="6492558" y="643646"/>
            <a:ext cx="5232773"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spcAft>
                <a:spcPts val="800"/>
              </a:spcAft>
            </a:pPr>
            <a:r>
              <a:rPr lang="en-US">
                <a:solidFill>
                  <a:schemeClr val="accent1"/>
                </a:solidFill>
                <a:latin typeface="Segoe UI Semibold"/>
              </a:rPr>
              <a:t>Learn more about Viva Learning</a:t>
            </a:r>
          </a:p>
        </p:txBody>
      </p:sp>
      <p:sp>
        <p:nvSpPr>
          <p:cNvPr id="43" name="TextBox 42">
            <a:extLst>
              <a:ext uri="{FF2B5EF4-FFF2-40B4-BE49-F238E27FC236}">
                <a16:creationId xmlns:a16="http://schemas.microsoft.com/office/drawing/2014/main" id="{81F49149-F6E8-4C83-AA1A-D712676FFB68}"/>
              </a:ext>
            </a:extLst>
          </p:cNvPr>
          <p:cNvSpPr txBox="1"/>
          <p:nvPr/>
        </p:nvSpPr>
        <p:spPr>
          <a:xfrm>
            <a:off x="6102506" y="1380672"/>
            <a:ext cx="5622825" cy="2539157"/>
          </a:xfrm>
          <a:prstGeom prst="rect">
            <a:avLst/>
          </a:prstGeom>
          <a:noFill/>
        </p:spPr>
        <p:txBody>
          <a:bodyPr wrap="square" lIns="0" rIns="0">
            <a:spAutoFit/>
          </a:bodyPr>
          <a:lstStyle>
            <a:defPPr>
              <a:defRPr lang="en-US"/>
            </a:defPPr>
            <a:lvl1pPr marL="171450" marR="0" lvl="0" indent="-171450" fontAlgn="auto">
              <a:spcBef>
                <a:spcPts val="0"/>
              </a:spcBef>
              <a:spcAft>
                <a:spcPts val="900"/>
              </a:spcAft>
              <a:buClrTx/>
              <a:buSzTx/>
              <a:buFont typeface="Arial" panose="020B0604020202020204" pitchFamily="34" charset="0"/>
              <a:buChar char="•"/>
              <a:tabLst/>
              <a:defRPr kumimoji="0" sz="1600" b="0" i="0" u="none" strike="noStrike" cap="none" spc="0" normalizeH="0" baseline="0">
                <a:ln>
                  <a:noFill/>
                </a:ln>
                <a:effectLst/>
                <a:uLnTx/>
                <a:uFillTx/>
                <a:latin typeface="Segoe UI"/>
                <a:cs typeface="Segoe UI"/>
              </a:defRPr>
            </a:lvl1pPr>
          </a:lstStyle>
          <a:p>
            <a:pPr marL="206375" indent="-206375"/>
            <a:r>
              <a:rPr lang="en-US"/>
              <a:t>Viva Learning is one of the 4 modules within Microsoft Viva. The Viva Learning app in Teams creates a center for learning, aggregating access to available learning resources in one place. </a:t>
            </a:r>
            <a:r>
              <a:rPr lang="en-US">
                <a:latin typeface="+mj-lt"/>
              </a:rPr>
              <a:t>Read the </a:t>
            </a:r>
            <a:r>
              <a:rPr lang="en-US">
                <a:latin typeface="+mj-lt"/>
                <a:hlinkClick r:id="rId5"/>
              </a:rPr>
              <a:t>Viva Learning GA Blog</a:t>
            </a:r>
            <a:r>
              <a:rPr lang="en-US">
                <a:latin typeface="+mj-lt"/>
              </a:rPr>
              <a:t> for more details</a:t>
            </a:r>
          </a:p>
          <a:p>
            <a:pPr marL="206375" indent="-206375"/>
            <a:r>
              <a:rPr lang="en-US"/>
              <a:t>Viva Learning has rich features for learners and managers to prioritize learning and development. </a:t>
            </a:r>
            <a:r>
              <a:rPr lang="en-US">
                <a:latin typeface="+mj-lt"/>
              </a:rPr>
              <a:t>Read the </a:t>
            </a:r>
            <a:r>
              <a:rPr lang="en-US">
                <a:latin typeface="+mj-lt"/>
                <a:hlinkClick r:id="rId6"/>
              </a:rPr>
              <a:t>scenario guide</a:t>
            </a:r>
            <a:r>
              <a:rPr lang="en-US">
                <a:latin typeface="+mj-lt"/>
              </a:rPr>
              <a:t> to understand common use cases</a:t>
            </a:r>
          </a:p>
          <a:p>
            <a:pPr marL="206375" indent="-206375"/>
            <a:r>
              <a:rPr lang="en-US">
                <a:latin typeface="+mn-lt"/>
              </a:rPr>
              <a:t>Read the </a:t>
            </a:r>
            <a:r>
              <a:rPr lang="en-US">
                <a:latin typeface="+mn-lt"/>
                <a:hlinkClick r:id="rId7"/>
              </a:rPr>
              <a:t>Viva Learning documentation pages </a:t>
            </a:r>
            <a:r>
              <a:rPr lang="en-US">
                <a:latin typeface="+mn-lt"/>
              </a:rPr>
              <a:t>for detailed guidance on technical deployment and admin setup </a:t>
            </a:r>
          </a:p>
        </p:txBody>
      </p:sp>
      <p:sp>
        <p:nvSpPr>
          <p:cNvPr id="49" name="Browser" title="Icon of a browser window">
            <a:extLst>
              <a:ext uri="{FF2B5EF4-FFF2-40B4-BE49-F238E27FC236}">
                <a16:creationId xmlns:a16="http://schemas.microsoft.com/office/drawing/2014/main" id="{DBA2E9DC-D748-4B50-A2C1-1C014BC5117A}"/>
              </a:ext>
            </a:extLst>
          </p:cNvPr>
          <p:cNvSpPr>
            <a:spLocks noChangeAspect="1" noEditPoints="1"/>
          </p:cNvSpPr>
          <p:nvPr/>
        </p:nvSpPr>
        <p:spPr bwMode="auto">
          <a:xfrm>
            <a:off x="512404" y="1406016"/>
            <a:ext cx="389997" cy="312120"/>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51" name="graduate" title="Icon of a graduation cap">
            <a:extLst>
              <a:ext uri="{FF2B5EF4-FFF2-40B4-BE49-F238E27FC236}">
                <a16:creationId xmlns:a16="http://schemas.microsoft.com/office/drawing/2014/main" id="{E0E52C26-E66B-4E4D-A7FE-0234BFA7221A}"/>
              </a:ext>
            </a:extLst>
          </p:cNvPr>
          <p:cNvSpPr>
            <a:spLocks noChangeAspect="1" noEditPoints="1"/>
          </p:cNvSpPr>
          <p:nvPr/>
        </p:nvSpPr>
        <p:spPr bwMode="auto">
          <a:xfrm>
            <a:off x="5809668" y="618845"/>
            <a:ext cx="380738" cy="326600"/>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35" name="TextBox 34">
            <a:extLst>
              <a:ext uri="{FF2B5EF4-FFF2-40B4-BE49-F238E27FC236}">
                <a16:creationId xmlns:a16="http://schemas.microsoft.com/office/drawing/2014/main" id="{E8C14E70-A53C-49CA-A753-A17577C4E189}"/>
              </a:ext>
            </a:extLst>
          </p:cNvPr>
          <p:cNvSpPr txBox="1"/>
          <p:nvPr/>
        </p:nvSpPr>
        <p:spPr>
          <a:xfrm>
            <a:off x="930915" y="5294735"/>
            <a:ext cx="4403234" cy="830997"/>
          </a:xfrm>
          <a:prstGeom prst="rect">
            <a:avLst/>
          </a:prstGeom>
          <a:noFill/>
        </p:spPr>
        <p:txBody>
          <a:bodyPr wrap="square" lIns="0" rIns="91440">
            <a:spAutoFit/>
          </a:bodyPr>
          <a:lstStyle/>
          <a:p>
            <a:pPr>
              <a:lnSpc>
                <a:spcPct val="100000"/>
              </a:lnSpc>
              <a:spcAft>
                <a:spcPts val="1200"/>
              </a:spcAft>
              <a:defRPr/>
            </a:pPr>
            <a:r>
              <a:rPr lang="en-US" sz="1600">
                <a:latin typeface="Segoe UI"/>
                <a:cs typeface="Segoe UI"/>
              </a:rPr>
              <a:t>Check out the </a:t>
            </a:r>
            <a:r>
              <a:rPr lang="en-US" sz="1600">
                <a:latin typeface="Segoe UI"/>
                <a:cs typeface="Segoe UI"/>
                <a:hlinkClick r:id="rId8"/>
              </a:rPr>
              <a:t>Viva Learning guided simulation </a:t>
            </a:r>
            <a:r>
              <a:rPr lang="en-US" sz="1600">
                <a:latin typeface="Segoe UI"/>
                <a:cs typeface="Segoe UI"/>
              </a:rPr>
              <a:t>for a walkthrough of using the product as a learner, manager, and admin</a:t>
            </a:r>
          </a:p>
        </p:txBody>
      </p:sp>
      <p:sp>
        <p:nvSpPr>
          <p:cNvPr id="29" name="Rectangle 28">
            <a:extLst>
              <a:ext uri="{FF2B5EF4-FFF2-40B4-BE49-F238E27FC236}">
                <a16:creationId xmlns:a16="http://schemas.microsoft.com/office/drawing/2014/main" id="{844B910D-D134-4F2C-AFB3-73D12C40D055}"/>
              </a:ext>
            </a:extLst>
          </p:cNvPr>
          <p:cNvSpPr/>
          <p:nvPr/>
        </p:nvSpPr>
        <p:spPr bwMode="auto">
          <a:xfrm>
            <a:off x="642722" y="4532015"/>
            <a:ext cx="4778245" cy="67373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D6375765-04E6-4292-AFBA-DB5561C36671}"/>
              </a:ext>
            </a:extLst>
          </p:cNvPr>
          <p:cNvSpPr/>
          <p:nvPr/>
        </p:nvSpPr>
        <p:spPr bwMode="auto">
          <a:xfrm>
            <a:off x="390824" y="4552307"/>
            <a:ext cx="633156" cy="633154"/>
          </a:xfrm>
          <a:prstGeom prst="ellipse">
            <a:avLst/>
          </a:prstGeom>
          <a:solidFill>
            <a:schemeClr val="bg1"/>
          </a:solidFill>
          <a:ln w="12700" cap="sq">
            <a:solidFill>
              <a:schemeClr val="accent1"/>
            </a:solidFill>
            <a:prstDash val="solid"/>
            <a:miter lim="800000"/>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err="1">
              <a:gradFill>
                <a:gsLst>
                  <a:gs pos="0">
                    <a:srgbClr val="505050"/>
                  </a:gs>
                  <a:gs pos="100000">
                    <a:srgbClr val="505050"/>
                  </a:gs>
                </a:gsLst>
                <a:lin ang="5400000" scaled="1"/>
              </a:gradFill>
            </a:endParaRPr>
          </a:p>
        </p:txBody>
      </p:sp>
      <p:sp>
        <p:nvSpPr>
          <p:cNvPr id="34" name="Rectangle 33">
            <a:extLst>
              <a:ext uri="{FF2B5EF4-FFF2-40B4-BE49-F238E27FC236}">
                <a16:creationId xmlns:a16="http://schemas.microsoft.com/office/drawing/2014/main" id="{18569B59-15E6-4F1E-896B-4AE0FB474E58}"/>
              </a:ext>
            </a:extLst>
          </p:cNvPr>
          <p:cNvSpPr/>
          <p:nvPr/>
        </p:nvSpPr>
        <p:spPr bwMode="auto">
          <a:xfrm>
            <a:off x="1199924" y="4733741"/>
            <a:ext cx="3818788" cy="2769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R="0" lvl="0" defTabSz="914400" rtl="0" eaLnBrk="1" fontAlgn="auto" latinLnBrk="0" hangingPunct="1">
              <a:spcBef>
                <a:spcPts val="0"/>
              </a:spcBef>
              <a:spcAft>
                <a:spcPts val="800"/>
              </a:spcAft>
              <a:buClrTx/>
              <a:buSzTx/>
              <a:buFontTx/>
              <a:buNone/>
              <a:tabLst/>
              <a:defRPr/>
            </a:pPr>
            <a:r>
              <a:rPr kumimoji="0" lang="en-US" b="0" i="0" u="none" strike="noStrike" kern="1200" cap="none" spc="0" normalizeH="0" baseline="0" noProof="0">
                <a:ln>
                  <a:noFill/>
                </a:ln>
                <a:solidFill>
                  <a:schemeClr val="accent1"/>
                </a:solidFill>
                <a:effectLst/>
                <a:uLnTx/>
                <a:uFillTx/>
                <a:latin typeface="Segoe UI Semibold"/>
                <a:ea typeface="+mn-ea"/>
                <a:cs typeface="+mn-cs"/>
              </a:rPr>
              <a:t>Demos</a:t>
            </a:r>
          </a:p>
        </p:txBody>
      </p:sp>
      <p:sp>
        <p:nvSpPr>
          <p:cNvPr id="37" name="people_6" title="Icon of a person with a screen behind them">
            <a:extLst>
              <a:ext uri="{FF2B5EF4-FFF2-40B4-BE49-F238E27FC236}">
                <a16:creationId xmlns:a16="http://schemas.microsoft.com/office/drawing/2014/main" id="{717031CE-E651-4D8B-994F-43D93591B1E1}"/>
              </a:ext>
            </a:extLst>
          </p:cNvPr>
          <p:cNvSpPr>
            <a:spLocks noChangeAspect="1" noEditPoints="1"/>
          </p:cNvSpPr>
          <p:nvPr/>
        </p:nvSpPr>
        <p:spPr bwMode="auto">
          <a:xfrm>
            <a:off x="539279" y="4695281"/>
            <a:ext cx="348462" cy="347079"/>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2700"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900">
              <a:gradFill>
                <a:gsLst>
                  <a:gs pos="0">
                    <a:srgbClr val="505050"/>
                  </a:gs>
                  <a:gs pos="100000">
                    <a:srgbClr val="505050"/>
                  </a:gs>
                </a:gsLst>
                <a:lin ang="5400000" scaled="1"/>
              </a:gradFill>
            </a:endParaRPr>
          </a:p>
        </p:txBody>
      </p:sp>
      <p:sp>
        <p:nvSpPr>
          <p:cNvPr id="4" name="Oval 3">
            <a:extLst>
              <a:ext uri="{FF2B5EF4-FFF2-40B4-BE49-F238E27FC236}">
                <a16:creationId xmlns:a16="http://schemas.microsoft.com/office/drawing/2014/main" id="{AF0D7192-9EA5-4939-99DB-3B8460809F07}"/>
              </a:ext>
            </a:extLst>
          </p:cNvPr>
          <p:cNvSpPr/>
          <p:nvPr/>
        </p:nvSpPr>
        <p:spPr bwMode="auto">
          <a:xfrm>
            <a:off x="8293701" y="4641266"/>
            <a:ext cx="1871979" cy="1871979"/>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Graphic 4">
            <a:extLst>
              <a:ext uri="{FF2B5EF4-FFF2-40B4-BE49-F238E27FC236}">
                <a16:creationId xmlns:a16="http://schemas.microsoft.com/office/drawing/2014/main" id="{C0023DED-79F7-4DB7-A4CA-2F186BD7A5D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10541" y="5010740"/>
            <a:ext cx="1638298" cy="1352470"/>
          </a:xfrm>
          <a:prstGeom prst="rect">
            <a:avLst/>
          </a:prstGeom>
        </p:spPr>
      </p:pic>
    </p:spTree>
    <p:extLst>
      <p:ext uri="{BB962C8B-B14F-4D97-AF65-F5344CB8AC3E}">
        <p14:creationId xmlns:p14="http://schemas.microsoft.com/office/powerpoint/2010/main" val="17768456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A1EE3B-B758-4844-A243-F5E75EAC4E8D}"/>
              </a:ext>
              <a:ext uri="{C183D7F6-B498-43B3-948B-1728B52AA6E4}">
                <adec:decorative xmlns:adec="http://schemas.microsoft.com/office/drawing/2017/decorative" val="1"/>
              </a:ext>
            </a:extLst>
          </p:cNvPr>
          <p:cNvSpPr/>
          <p:nvPr/>
        </p:nvSpPr>
        <p:spPr bwMode="white">
          <a:xfrm>
            <a:off x="609601" y="-2"/>
            <a:ext cx="11582399" cy="685483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13" name="Group 12">
            <a:extLst>
              <a:ext uri="{FF2B5EF4-FFF2-40B4-BE49-F238E27FC236}">
                <a16:creationId xmlns:a16="http://schemas.microsoft.com/office/drawing/2014/main" id="{82AD2E4A-3C57-40F7-8A60-0AD6B9EA998C}"/>
              </a:ext>
            </a:extLst>
          </p:cNvPr>
          <p:cNvGrpSpPr/>
          <p:nvPr/>
        </p:nvGrpSpPr>
        <p:grpSpPr>
          <a:xfrm>
            <a:off x="6882384" y="-1"/>
            <a:ext cx="5309616" cy="6858001"/>
            <a:chOff x="6882384" y="-1"/>
            <a:chExt cx="5309616" cy="6858001"/>
          </a:xfrm>
        </p:grpSpPr>
        <p:pic>
          <p:nvPicPr>
            <p:cNvPr id="14" name="Graphic 13" descr="Viva graphic">
              <a:extLst>
                <a:ext uri="{FF2B5EF4-FFF2-40B4-BE49-F238E27FC236}">
                  <a16:creationId xmlns:a16="http://schemas.microsoft.com/office/drawing/2014/main" id="{D81B13CB-DD7D-4199-90F6-BCBE4679B7C9}"/>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1" t="37067" r="63457" b="24387"/>
            <a:stretch/>
          </p:blipFill>
          <p:spPr bwMode="ltGray">
            <a:xfrm>
              <a:off x="6882384" y="1257299"/>
              <a:ext cx="5309616" cy="5600701"/>
            </a:xfrm>
            <a:prstGeom prst="rect">
              <a:avLst/>
            </a:prstGeom>
          </p:spPr>
        </p:pic>
        <p:pic>
          <p:nvPicPr>
            <p:cNvPr id="15" name="Graphic 14" descr="Viva graphic">
              <a:extLst>
                <a:ext uri="{FF2B5EF4-FFF2-40B4-BE49-F238E27FC236}">
                  <a16:creationId xmlns:a16="http://schemas.microsoft.com/office/drawing/2014/main" id="{53AE230C-92AC-4825-B8EB-8F8B34B8B8E8}"/>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t="19363" r="63456" b="59769"/>
            <a:stretch/>
          </p:blipFill>
          <p:spPr bwMode="ltGray">
            <a:xfrm>
              <a:off x="6882384" y="-1"/>
              <a:ext cx="5309616" cy="3032125"/>
            </a:xfrm>
            <a:prstGeom prst="rect">
              <a:avLst/>
            </a:prstGeom>
          </p:spPr>
        </p:pic>
      </p:grpSp>
      <p:sp>
        <p:nvSpPr>
          <p:cNvPr id="2" name="Title 1"/>
          <p:cNvSpPr>
            <a:spLocks noGrp="1"/>
          </p:cNvSpPr>
          <p:nvPr>
            <p:ph type="title" idx="4294967295"/>
          </p:nvPr>
        </p:nvSpPr>
        <p:spPr>
          <a:xfrm>
            <a:off x="1458913" y="3059113"/>
            <a:ext cx="10733087" cy="739775"/>
          </a:xfrm>
        </p:spPr>
        <p:txBody>
          <a:bodyPr anchor="ctr"/>
          <a:lstStyle/>
          <a:p>
            <a:r>
              <a:rPr lang="en-US" sz="4800" noProof="0"/>
              <a:t>Assess your environment</a:t>
            </a:r>
            <a:endParaRPr lang="en-US" sz="4000">
              <a:latin typeface="+mn-lt"/>
            </a:endParaRPr>
          </a:p>
        </p:txBody>
      </p:sp>
      <p:sp>
        <p:nvSpPr>
          <p:cNvPr id="8" name="Rectangle 7">
            <a:extLst>
              <a:ext uri="{FF2B5EF4-FFF2-40B4-BE49-F238E27FC236}">
                <a16:creationId xmlns:a16="http://schemas.microsoft.com/office/drawing/2014/main" id="{2D16D8AA-7CA0-4508-90F6-157A7D0C6EDF}"/>
              </a:ext>
              <a:ext uri="{C183D7F6-B498-43B3-948B-1728B52AA6E4}">
                <adec:decorative xmlns:adec="http://schemas.microsoft.com/office/drawing/2017/decorative" val="1"/>
              </a:ext>
            </a:extLst>
          </p:cNvPr>
          <p:cNvSpPr/>
          <p:nvPr/>
        </p:nvSpPr>
        <p:spPr bwMode="white">
          <a:xfrm>
            <a:off x="1" y="0"/>
            <a:ext cx="609600" cy="68611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87751028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6222DF-273F-47CC-B03E-9C7A168CA179}"/>
              </a:ext>
            </a:extLst>
          </p:cNvPr>
          <p:cNvSpPr>
            <a:spLocks noGrp="1"/>
          </p:cNvSpPr>
          <p:nvPr>
            <p:ph type="title"/>
          </p:nvPr>
        </p:nvSpPr>
        <p:spPr>
          <a:xfrm>
            <a:off x="584200" y="2979778"/>
            <a:ext cx="5298440" cy="553998"/>
          </a:xfrm>
        </p:spPr>
        <p:txBody>
          <a:bodyPr/>
          <a:lstStyle/>
          <a:p>
            <a:r>
              <a:rPr lang="en-US"/>
              <a:t>Thank you.</a:t>
            </a:r>
          </a:p>
        </p:txBody>
      </p:sp>
    </p:spTree>
    <p:extLst>
      <p:ext uri="{BB962C8B-B14F-4D97-AF65-F5344CB8AC3E}">
        <p14:creationId xmlns:p14="http://schemas.microsoft.com/office/powerpoint/2010/main" val="31098668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468AC0-7BF0-4C38-9E7B-8B41EE6DE3FF}"/>
              </a:ext>
            </a:extLst>
          </p:cNvPr>
          <p:cNvSpPr/>
          <p:nvPr/>
        </p:nvSpPr>
        <p:spPr bwMode="auto">
          <a:xfrm>
            <a:off x="0" y="1904999"/>
            <a:ext cx="12191999" cy="40132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7" name="Title 1">
            <a:extLst>
              <a:ext uri="{FF2B5EF4-FFF2-40B4-BE49-F238E27FC236}">
                <a16:creationId xmlns:a16="http://schemas.microsoft.com/office/drawing/2014/main" id="{9687E425-1E3C-4C3D-9B52-60B3EB2AF788}"/>
              </a:ext>
            </a:extLst>
          </p:cNvPr>
          <p:cNvSpPr>
            <a:spLocks noGrp="1"/>
          </p:cNvSpPr>
          <p:nvPr>
            <p:ph type="title"/>
          </p:nvPr>
        </p:nvSpPr>
        <p:spPr>
          <a:xfrm>
            <a:off x="588263" y="457200"/>
            <a:ext cx="11018520" cy="553998"/>
          </a:xfrm>
        </p:spPr>
        <p:txBody>
          <a:bodyPr/>
          <a:lstStyle/>
          <a:p>
            <a:r>
              <a:rPr lang="en-US"/>
              <a:t>Understand access requirements</a:t>
            </a:r>
          </a:p>
        </p:txBody>
      </p:sp>
      <p:sp>
        <p:nvSpPr>
          <p:cNvPr id="8" name="Rectangle 7">
            <a:extLst>
              <a:ext uri="{FF2B5EF4-FFF2-40B4-BE49-F238E27FC236}">
                <a16:creationId xmlns:a16="http://schemas.microsoft.com/office/drawing/2014/main" id="{5A49A5FD-BF83-4FE5-933E-8D65FC743083}"/>
              </a:ext>
            </a:extLst>
          </p:cNvPr>
          <p:cNvSpPr/>
          <p:nvPr/>
        </p:nvSpPr>
        <p:spPr>
          <a:xfrm>
            <a:off x="588263" y="1954838"/>
            <a:ext cx="5145787" cy="2339102"/>
          </a:xfrm>
          <a:prstGeom prst="rect">
            <a:avLst/>
          </a:prstGeom>
        </p:spPr>
        <p:txBody>
          <a:bodyPr wrap="square" lIns="0" tIns="45720" rIns="0" bIns="45720" anchor="t">
            <a:spAutoFit/>
          </a:bodyPr>
          <a:lstStyle/>
          <a:p>
            <a:pPr>
              <a:spcAft>
                <a:spcPts val="600"/>
              </a:spcAft>
            </a:pPr>
            <a:r>
              <a:rPr lang="en-US">
                <a:cs typeface="Segoe UI"/>
              </a:rPr>
              <a:t>The Viva Learning app will be discoverable to all users with a paid Microsoft or Office 365 subscription and access to Microsoft Teams</a:t>
            </a:r>
            <a:endParaRPr lang="en-US"/>
          </a:p>
          <a:p>
            <a:pPr marL="381000" indent="-285750">
              <a:spcBef>
                <a:spcPts val="600"/>
              </a:spcBef>
              <a:spcAft>
                <a:spcPts val="600"/>
              </a:spcAft>
              <a:buClr>
                <a:schemeClr val="tx1"/>
              </a:buClr>
              <a:buFont typeface="Verdana" panose="020B0604030504040204" pitchFamily="34" charset="0"/>
              <a:buChar char="-"/>
            </a:pPr>
            <a:r>
              <a:rPr lang="en-US" b="1">
                <a:cs typeface="Segoe UI"/>
              </a:rPr>
              <a:t>GCC tenants</a:t>
            </a:r>
            <a:r>
              <a:rPr lang="en-US" b="1" i="0">
                <a:effectLst/>
              </a:rPr>
              <a:t> –</a:t>
            </a:r>
            <a:r>
              <a:rPr lang="en-US" b="1">
                <a:cs typeface="Segoe UI"/>
              </a:rPr>
              <a:t> </a:t>
            </a:r>
            <a:r>
              <a:rPr lang="en-US">
                <a:cs typeface="Segoe UI"/>
              </a:rPr>
              <a:t>Access is on the for H2 CY2022</a:t>
            </a:r>
          </a:p>
          <a:p>
            <a:pPr marL="381000" indent="-285750">
              <a:spcBef>
                <a:spcPts val="600"/>
              </a:spcBef>
              <a:spcAft>
                <a:spcPts val="600"/>
              </a:spcAft>
              <a:buClr>
                <a:schemeClr val="tx1"/>
              </a:buClr>
              <a:buFont typeface="Verdana" panose="020B0604030504040204" pitchFamily="34" charset="0"/>
              <a:buChar char="-"/>
            </a:pPr>
            <a:r>
              <a:rPr lang="en-US" b="1">
                <a:cs typeface="Segoe UI"/>
              </a:rPr>
              <a:t>EDU tenants</a:t>
            </a:r>
            <a:r>
              <a:rPr lang="en-US" b="1" i="0">
                <a:effectLst/>
              </a:rPr>
              <a:t> –</a:t>
            </a:r>
            <a:r>
              <a:rPr lang="en-US" b="1">
                <a:cs typeface="Segoe UI"/>
              </a:rPr>
              <a:t> </a:t>
            </a:r>
            <a:r>
              <a:rPr lang="en-US">
                <a:cs typeface="Segoe UI"/>
              </a:rPr>
              <a:t>Only faculty &amp; staff will have access for EDU tenants. Students will not have access to Viva Learning</a:t>
            </a:r>
          </a:p>
        </p:txBody>
      </p:sp>
      <p:sp>
        <p:nvSpPr>
          <p:cNvPr id="31" name="Rectangle 30">
            <a:extLst>
              <a:ext uri="{FF2B5EF4-FFF2-40B4-BE49-F238E27FC236}">
                <a16:creationId xmlns:a16="http://schemas.microsoft.com/office/drawing/2014/main" id="{42106AE3-92F7-40D9-A15F-2999D00786F6}"/>
              </a:ext>
            </a:extLst>
          </p:cNvPr>
          <p:cNvSpPr/>
          <p:nvPr/>
        </p:nvSpPr>
        <p:spPr>
          <a:xfrm>
            <a:off x="6389234" y="1954838"/>
            <a:ext cx="5250831" cy="3554819"/>
          </a:xfrm>
          <a:prstGeom prst="rect">
            <a:avLst/>
          </a:prstGeom>
        </p:spPr>
        <p:txBody>
          <a:bodyPr wrap="square" lIns="0" rIns="0">
            <a:spAutoFit/>
          </a:bodyPr>
          <a:lstStyle/>
          <a:p>
            <a:pPr algn="l">
              <a:spcAft>
                <a:spcPts val="600"/>
              </a:spcAft>
            </a:pPr>
            <a:r>
              <a:rPr lang="en-US" i="0">
                <a:effectLst/>
              </a:rPr>
              <a:t>Not required, but can enhance the Viva Learning experience:</a:t>
            </a:r>
          </a:p>
          <a:p>
            <a:pPr marL="381000" indent="-285750" algn="l">
              <a:spcBef>
                <a:spcPts val="600"/>
              </a:spcBef>
              <a:spcAft>
                <a:spcPts val="600"/>
              </a:spcAft>
              <a:buClr>
                <a:schemeClr val="tx1"/>
              </a:buClr>
              <a:buFont typeface="Verdana" panose="020B0604030504040204" pitchFamily="34" charset="0"/>
              <a:buChar char="-"/>
            </a:pPr>
            <a:r>
              <a:rPr lang="en-US" b="1" i="0">
                <a:effectLst/>
              </a:rPr>
              <a:t>SharePoint –</a:t>
            </a:r>
            <a:r>
              <a:rPr lang="en-US" b="0" i="0">
                <a:effectLst/>
              </a:rPr>
              <a:t> Allows for organization-generated resources to show up as learning content in Viva Learning</a:t>
            </a:r>
          </a:p>
          <a:p>
            <a:pPr marL="381000" indent="-285750" algn="l">
              <a:spcBef>
                <a:spcPts val="600"/>
              </a:spcBef>
              <a:spcAft>
                <a:spcPts val="600"/>
              </a:spcAft>
              <a:buClr>
                <a:schemeClr val="tx1"/>
              </a:buClr>
              <a:buFont typeface="Verdana" panose="020B0604030504040204" pitchFamily="34" charset="0"/>
              <a:buChar char="-"/>
            </a:pPr>
            <a:r>
              <a:rPr lang="en-US" b="1" i="0">
                <a:effectLst/>
              </a:rPr>
              <a:t>Existing subscriptions with content providers</a:t>
            </a:r>
            <a:endParaRPr lang="en-US"/>
          </a:p>
          <a:p>
            <a:pPr marL="838200" lvl="1" indent="-285750">
              <a:spcAft>
                <a:spcPts val="600"/>
              </a:spcAft>
              <a:buClr>
                <a:schemeClr val="tx1"/>
              </a:buClr>
              <a:buFont typeface="Courier New" panose="02070309020205020404" pitchFamily="49" charset="0"/>
              <a:buChar char="o"/>
            </a:pPr>
            <a:r>
              <a:rPr lang="en-US" b="0" i="0">
                <a:effectLst/>
              </a:rPr>
              <a:t>LinkedIn Learning </a:t>
            </a:r>
          </a:p>
          <a:p>
            <a:pPr marL="838200" lvl="1" indent="-285750">
              <a:spcBef>
                <a:spcPts val="600"/>
              </a:spcBef>
              <a:spcAft>
                <a:spcPts val="600"/>
              </a:spcAft>
              <a:buClr>
                <a:schemeClr val="tx1"/>
              </a:buClr>
              <a:buFont typeface="Courier New" panose="02070309020205020404" pitchFamily="49" charset="0"/>
              <a:buChar char="o"/>
            </a:pPr>
            <a:r>
              <a:rPr lang="en-US"/>
              <a:t>3</a:t>
            </a:r>
            <a:r>
              <a:rPr lang="en-US" baseline="30000"/>
              <a:t>rd</a:t>
            </a:r>
            <a:r>
              <a:rPr lang="en-US"/>
              <a:t> party learning content providers </a:t>
            </a:r>
          </a:p>
          <a:p>
            <a:pPr marL="381000" indent="-285750" algn="l">
              <a:spcBef>
                <a:spcPts val="600"/>
              </a:spcBef>
              <a:spcAft>
                <a:spcPts val="600"/>
              </a:spcAft>
              <a:buClr>
                <a:schemeClr val="tx1"/>
              </a:buClr>
              <a:buFont typeface="Verdana" panose="020B0604030504040204" pitchFamily="34" charset="0"/>
              <a:buChar char="-"/>
            </a:pPr>
            <a:r>
              <a:rPr lang="en-US" b="1" i="0">
                <a:effectLst/>
              </a:rPr>
              <a:t>Existing subscription with Learning Management Systems</a:t>
            </a:r>
            <a:endParaRPr lang="en-US" b="0" i="0">
              <a:effectLst/>
            </a:endParaRPr>
          </a:p>
        </p:txBody>
      </p:sp>
      <p:sp>
        <p:nvSpPr>
          <p:cNvPr id="13" name="Arrow: Bent 12">
            <a:extLst>
              <a:ext uri="{FF2B5EF4-FFF2-40B4-BE49-F238E27FC236}">
                <a16:creationId xmlns:a16="http://schemas.microsoft.com/office/drawing/2014/main" id="{AA417DB2-3AF0-4DE5-BD19-45D46C752E47}"/>
              </a:ext>
            </a:extLst>
          </p:cNvPr>
          <p:cNvSpPr/>
          <p:nvPr/>
        </p:nvSpPr>
        <p:spPr bwMode="auto">
          <a:xfrm rot="5400000">
            <a:off x="897806" y="829396"/>
            <a:ext cx="4190997" cy="5986610"/>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4" name="Arrow: Bent 13">
            <a:extLst>
              <a:ext uri="{FF2B5EF4-FFF2-40B4-BE49-F238E27FC236}">
                <a16:creationId xmlns:a16="http://schemas.microsoft.com/office/drawing/2014/main" id="{7FA563C0-315B-4047-ABD0-431AC1AAA40C}"/>
              </a:ext>
            </a:extLst>
          </p:cNvPr>
          <p:cNvSpPr/>
          <p:nvPr/>
        </p:nvSpPr>
        <p:spPr bwMode="auto">
          <a:xfrm rot="16200000" flipH="1">
            <a:off x="7103197" y="829396"/>
            <a:ext cx="4190997" cy="5986610"/>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5" name="Arrow: U-Turn 14">
            <a:extLst>
              <a:ext uri="{FF2B5EF4-FFF2-40B4-BE49-F238E27FC236}">
                <a16:creationId xmlns:a16="http://schemas.microsoft.com/office/drawing/2014/main" id="{A6180805-F5FA-4D77-B646-91325C0DFBEA}"/>
              </a:ext>
            </a:extLst>
          </p:cNvPr>
          <p:cNvSpPr/>
          <p:nvPr/>
        </p:nvSpPr>
        <p:spPr bwMode="auto">
          <a:xfrm rot="10800000">
            <a:off x="5986610" y="5296482"/>
            <a:ext cx="218780" cy="914400"/>
          </a:xfrm>
          <a:prstGeom prst="uturnArrow">
            <a:avLst>
              <a:gd name="adj1" fmla="val 25000"/>
              <a:gd name="adj2" fmla="val 0"/>
              <a:gd name="adj3" fmla="val 25000"/>
              <a:gd name="adj4" fmla="val 43750"/>
              <a:gd name="adj5" fmla="val 100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err="1">
              <a:solidFill>
                <a:srgbClr val="FFFFFF"/>
              </a:solidFill>
              <a:cs typeface="Segoe UI" pitchFamily="34" charset="0"/>
            </a:endParaRPr>
          </a:p>
        </p:txBody>
      </p:sp>
      <p:cxnSp>
        <p:nvCxnSpPr>
          <p:cNvPr id="16" name="Straight Connector 15">
            <a:extLst>
              <a:ext uri="{FF2B5EF4-FFF2-40B4-BE49-F238E27FC236}">
                <a16:creationId xmlns:a16="http://schemas.microsoft.com/office/drawing/2014/main" id="{5FB7F40B-0CA9-4772-9BEE-63AC67F8951C}"/>
              </a:ext>
            </a:extLst>
          </p:cNvPr>
          <p:cNvCxnSpPr>
            <a:cxnSpLocks/>
          </p:cNvCxnSpPr>
          <p:nvPr/>
        </p:nvCxnSpPr>
        <p:spPr>
          <a:xfrm>
            <a:off x="588263" y="1727200"/>
            <a:ext cx="4212336"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E36B007-55E5-4F86-81AF-902316810CD0}"/>
              </a:ext>
            </a:extLst>
          </p:cNvPr>
          <p:cNvSpPr txBox="1">
            <a:spLocks/>
          </p:cNvSpPr>
          <p:nvPr/>
        </p:nvSpPr>
        <p:spPr>
          <a:xfrm>
            <a:off x="588263" y="1361301"/>
            <a:ext cx="4212337" cy="276999"/>
          </a:xfrm>
          <a:prstGeom prst="rect">
            <a:avLst/>
          </a:prstGeom>
          <a:noFill/>
        </p:spPr>
        <p:txBody>
          <a:bodyPr wrap="square" lIns="0" tIns="0" rIns="0" bIns="0" rtlCol="0">
            <a:noAutofit/>
          </a:bodyPr>
          <a:lstStyle/>
          <a:p>
            <a:pPr defTabSz="932563">
              <a:spcAft>
                <a:spcPts val="400"/>
              </a:spcAft>
              <a:buClr>
                <a:prstClr val="white"/>
              </a:buClr>
            </a:pPr>
            <a:r>
              <a:rPr lang="en-US" sz="2000">
                <a:ln w="3175">
                  <a:noFill/>
                </a:ln>
                <a:solidFill>
                  <a:schemeClr val="accent1"/>
                </a:solidFill>
                <a:latin typeface="+mj-lt"/>
                <a:cs typeface="Segoe UI Semibold" panose="020B0702040204020203" pitchFamily="34" charset="0"/>
              </a:rPr>
              <a:t>Microsoft or Office 365 subscription</a:t>
            </a:r>
          </a:p>
        </p:txBody>
      </p:sp>
      <p:cxnSp>
        <p:nvCxnSpPr>
          <p:cNvPr id="20" name="Straight Connector 19">
            <a:extLst>
              <a:ext uri="{FF2B5EF4-FFF2-40B4-BE49-F238E27FC236}">
                <a16:creationId xmlns:a16="http://schemas.microsoft.com/office/drawing/2014/main" id="{AB4DFA49-77E3-4472-BE21-8F56A740E952}"/>
              </a:ext>
            </a:extLst>
          </p:cNvPr>
          <p:cNvCxnSpPr>
            <a:cxnSpLocks/>
          </p:cNvCxnSpPr>
          <p:nvPr/>
        </p:nvCxnSpPr>
        <p:spPr>
          <a:xfrm>
            <a:off x="6389234" y="1727200"/>
            <a:ext cx="2564383" cy="0"/>
          </a:xfrm>
          <a:prstGeom prst="line">
            <a:avLst/>
          </a:prstGeom>
          <a:ln w="25400" cap="rnd">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B8DF7A2-78A5-4564-8F47-55E63AD3B3E4}"/>
              </a:ext>
            </a:extLst>
          </p:cNvPr>
          <p:cNvSpPr txBox="1">
            <a:spLocks/>
          </p:cNvSpPr>
          <p:nvPr/>
        </p:nvSpPr>
        <p:spPr>
          <a:xfrm>
            <a:off x="6389234" y="1361301"/>
            <a:ext cx="2584041" cy="307777"/>
          </a:xfrm>
          <a:prstGeom prst="rect">
            <a:avLst/>
          </a:prstGeom>
          <a:noFill/>
        </p:spPr>
        <p:txBody>
          <a:bodyPr wrap="none" lIns="0" tIns="0" rIns="0" bIns="0" rtlCol="0">
            <a:spAutoFit/>
          </a:bodyPr>
          <a:lstStyle/>
          <a:p>
            <a:pPr defTabSz="932563">
              <a:spcAft>
                <a:spcPts val="400"/>
              </a:spcAft>
              <a:buClr>
                <a:prstClr val="white"/>
              </a:buClr>
            </a:pPr>
            <a:r>
              <a:rPr lang="en-US" sz="2000">
                <a:ln w="3175">
                  <a:noFill/>
                </a:ln>
                <a:solidFill>
                  <a:schemeClr val="accent1"/>
                </a:solidFill>
                <a:latin typeface="+mj-lt"/>
                <a:cs typeface="Segoe UI Semibold" panose="020B0702040204020203" pitchFamily="34" charset="0"/>
              </a:rPr>
              <a:t>Special considerations</a:t>
            </a:r>
          </a:p>
        </p:txBody>
      </p:sp>
    </p:spTree>
    <p:extLst>
      <p:ext uri="{BB962C8B-B14F-4D97-AF65-F5344CB8AC3E}">
        <p14:creationId xmlns:p14="http://schemas.microsoft.com/office/powerpoint/2010/main" val="22475688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3132809-7134-40E9-9559-61DE3F4B935C}"/>
              </a:ext>
            </a:extLst>
          </p:cNvPr>
          <p:cNvSpPr/>
          <p:nvPr/>
        </p:nvSpPr>
        <p:spPr bwMode="auto">
          <a:xfrm>
            <a:off x="7694603" y="1498024"/>
            <a:ext cx="5749703" cy="4333858"/>
          </a:xfrm>
          <a:prstGeom prst="roundRect">
            <a:avLst>
              <a:gd name="adj" fmla="val 5898"/>
            </a:avLst>
          </a:prstGeom>
          <a:solidFill>
            <a:srgbClr val="054B1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1" name="Rectangle 100">
            <a:extLst>
              <a:ext uri="{FF2B5EF4-FFF2-40B4-BE49-F238E27FC236}">
                <a16:creationId xmlns:a16="http://schemas.microsoft.com/office/drawing/2014/main" id="{E645F860-BA2F-4864-990B-54223D196D48}"/>
              </a:ext>
            </a:extLst>
          </p:cNvPr>
          <p:cNvSpPr/>
          <p:nvPr/>
        </p:nvSpPr>
        <p:spPr bwMode="auto">
          <a:xfrm>
            <a:off x="0" y="1498024"/>
            <a:ext cx="800099" cy="455080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9" name="Title 3">
            <a:extLst>
              <a:ext uri="{FF2B5EF4-FFF2-40B4-BE49-F238E27FC236}">
                <a16:creationId xmlns:a16="http://schemas.microsoft.com/office/drawing/2014/main" id="{3600DED2-9D95-4BC4-86B0-02513036FF3C}"/>
              </a:ext>
            </a:extLst>
          </p:cNvPr>
          <p:cNvSpPr>
            <a:spLocks noGrp="1"/>
          </p:cNvSpPr>
          <p:nvPr>
            <p:ph type="title"/>
          </p:nvPr>
        </p:nvSpPr>
        <p:spPr>
          <a:xfrm>
            <a:off x="588263" y="457200"/>
            <a:ext cx="11018520" cy="553998"/>
          </a:xfrm>
        </p:spPr>
        <p:txBody>
          <a:bodyPr/>
          <a:lstStyle/>
          <a:p>
            <a:r>
              <a:rPr lang="en-US"/>
              <a:t>Consider your current learning ecosystem</a:t>
            </a:r>
          </a:p>
        </p:txBody>
      </p:sp>
      <p:sp>
        <p:nvSpPr>
          <p:cNvPr id="80" name="Arrow: Bent 79">
            <a:extLst>
              <a:ext uri="{FF2B5EF4-FFF2-40B4-BE49-F238E27FC236}">
                <a16:creationId xmlns:a16="http://schemas.microsoft.com/office/drawing/2014/main" id="{733240CC-3269-41C5-A2F3-8928F1DBD81E}"/>
              </a:ext>
            </a:extLst>
          </p:cNvPr>
          <p:cNvSpPr/>
          <p:nvPr/>
        </p:nvSpPr>
        <p:spPr bwMode="auto">
          <a:xfrm rot="10800000" flipH="1">
            <a:off x="800100" y="4991098"/>
            <a:ext cx="11391900" cy="127849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79" name="Arrow: Bent 78">
            <a:extLst>
              <a:ext uri="{FF2B5EF4-FFF2-40B4-BE49-F238E27FC236}">
                <a16:creationId xmlns:a16="http://schemas.microsoft.com/office/drawing/2014/main" id="{17D27186-BC38-4ECA-BEF6-CFFBE7B3CCAC}"/>
              </a:ext>
            </a:extLst>
          </p:cNvPr>
          <p:cNvSpPr/>
          <p:nvPr/>
        </p:nvSpPr>
        <p:spPr bwMode="auto">
          <a:xfrm rot="5400000">
            <a:off x="-1628322" y="2905578"/>
            <a:ext cx="4056743" cy="80009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cxnSp>
        <p:nvCxnSpPr>
          <p:cNvPr id="110" name="Straight Connector 109">
            <a:extLst>
              <a:ext uri="{FF2B5EF4-FFF2-40B4-BE49-F238E27FC236}">
                <a16:creationId xmlns:a16="http://schemas.microsoft.com/office/drawing/2014/main" id="{CE2CC25C-50A9-46BF-AD51-EC8835509681}"/>
              </a:ext>
            </a:extLst>
          </p:cNvPr>
          <p:cNvCxnSpPr>
            <a:cxnSpLocks/>
          </p:cNvCxnSpPr>
          <p:nvPr/>
        </p:nvCxnSpPr>
        <p:spPr>
          <a:xfrm>
            <a:off x="1265517" y="3669373"/>
            <a:ext cx="5720196"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31B606-545E-4753-AC22-36E3DC5C6641}"/>
              </a:ext>
            </a:extLst>
          </p:cNvPr>
          <p:cNvSpPr>
            <a:spLocks/>
          </p:cNvSpPr>
          <p:nvPr/>
        </p:nvSpPr>
        <p:spPr>
          <a:xfrm>
            <a:off x="1168470" y="1339267"/>
            <a:ext cx="6217614" cy="2192908"/>
          </a:xfrm>
          <a:prstGeom prst="rect">
            <a:avLst/>
          </a:prstGeom>
        </p:spPr>
        <p:txBody>
          <a:bodyPr wrap="square" lIns="0" tIns="0" rIns="0" bIns="0">
            <a:spAutoFit/>
          </a:bodyPr>
          <a:lstStyle/>
          <a:p>
            <a:pPr marL="0" lvl="1" defTabSz="896181">
              <a:spcAft>
                <a:spcPts val="300"/>
              </a:spcAft>
              <a:buSzPct val="90000"/>
            </a:pPr>
            <a:r>
              <a:rPr lang="en-US" sz="1400" b="1">
                <a:cs typeface="Segoe UI" panose="020B0502040204020203" pitchFamily="34" charset="0"/>
              </a:rPr>
              <a:t>Take inventory of your current learning programs</a:t>
            </a:r>
          </a:p>
          <a:p>
            <a:pPr marL="390525" lvl="2" indent="-285750" defTabSz="896181">
              <a:spcAft>
                <a:spcPts val="600"/>
              </a:spcAft>
              <a:buSzPct val="90000"/>
              <a:buFont typeface="Verdana" panose="020B0604030504040204" pitchFamily="34" charset="0"/>
              <a:buChar char="-"/>
            </a:pPr>
            <a:r>
              <a:rPr lang="en-US" sz="1300">
                <a:cs typeface="Segoe UI" panose="020B0502040204020203" pitchFamily="34" charset="0"/>
              </a:rPr>
              <a:t>Does your organization subscribe to any learning content providers (LinkedIn Learning, Skillsoft, Pluralsight, Coursera)?</a:t>
            </a:r>
          </a:p>
          <a:p>
            <a:pPr marL="390525" lvl="2" indent="-285750" defTabSz="896181">
              <a:spcAft>
                <a:spcPts val="600"/>
              </a:spcAft>
              <a:buSzPct val="90000"/>
              <a:buFont typeface="Verdana" panose="020B0604030504040204" pitchFamily="34" charset="0"/>
              <a:buChar char="-"/>
            </a:pPr>
            <a:r>
              <a:rPr lang="en-US" sz="1300">
                <a:cs typeface="Segoe UI" panose="020B0502040204020203" pitchFamily="34" charset="0"/>
              </a:rPr>
              <a:t>Does your organization use a learning management system (SAP SuccessFactors, Cornerstone OnDemand, SumTotal)? How do you use it – as a system of record/compliance, to set up required trainings, to get learning reporting/insights, for learning discovery?</a:t>
            </a:r>
          </a:p>
          <a:p>
            <a:pPr marL="390525" lvl="2" indent="-285750" defTabSz="896181">
              <a:spcAft>
                <a:spcPts val="600"/>
              </a:spcAft>
              <a:buSzPct val="90000"/>
              <a:buFont typeface="Verdana" panose="020B0604030504040204" pitchFamily="34" charset="0"/>
              <a:buChar char="-"/>
            </a:pPr>
            <a:r>
              <a:rPr lang="en-US" sz="1300">
                <a:cs typeface="Segoe UI" panose="020B0502040204020203" pitchFamily="34" charset="0"/>
              </a:rPr>
              <a:t>Does your organization use a learning experience platform (Degreed, EdCast)? How do you use it – as a front-end user platform, for learning discovery, for organizing their learning goals?</a:t>
            </a:r>
          </a:p>
        </p:txBody>
      </p:sp>
      <p:sp>
        <p:nvSpPr>
          <p:cNvPr id="83" name="Rectangle 82">
            <a:extLst>
              <a:ext uri="{FF2B5EF4-FFF2-40B4-BE49-F238E27FC236}">
                <a16:creationId xmlns:a16="http://schemas.microsoft.com/office/drawing/2014/main" id="{01BC7739-F0E5-4CB8-A08E-DBA8834AF1C3}"/>
              </a:ext>
            </a:extLst>
          </p:cNvPr>
          <p:cNvSpPr>
            <a:spLocks/>
          </p:cNvSpPr>
          <p:nvPr/>
        </p:nvSpPr>
        <p:spPr>
          <a:xfrm>
            <a:off x="1265517" y="3867358"/>
            <a:ext cx="5979689" cy="2123658"/>
          </a:xfrm>
          <a:prstGeom prst="rect">
            <a:avLst/>
          </a:prstGeom>
        </p:spPr>
        <p:txBody>
          <a:bodyPr wrap="square" lIns="0" tIns="0" rIns="0" bIns="0">
            <a:spAutoFit/>
          </a:bodyPr>
          <a:lstStyle/>
          <a:p>
            <a:pPr marL="0" lvl="1" defTabSz="896181">
              <a:spcBef>
                <a:spcPts val="600"/>
              </a:spcBef>
              <a:spcAft>
                <a:spcPts val="600"/>
              </a:spcAft>
              <a:buSzPct val="90000"/>
            </a:pPr>
            <a:r>
              <a:rPr lang="en-US" sz="1400" b="1">
                <a:cs typeface="Segoe UI" panose="020B0502040204020203" pitchFamily="34" charset="0"/>
              </a:rPr>
              <a:t>Understand where Viva Learning fits in. </a:t>
            </a:r>
            <a:r>
              <a:rPr lang="en-US" sz="1300">
                <a:cs typeface="Segoe UI" panose="020B0502040204020203" pitchFamily="34" charset="0"/>
              </a:rPr>
              <a:t>Viva Learning is a flow of work learning platform. It is a user-friendly, front-end platform, being fully integrated throughout the programs employees are already using. Viva Learning should be leveraged to maximize the impacts of your other learning investments by bringing them into the flow of work throughout Microsoft Teams and Microsoft 365. </a:t>
            </a:r>
          </a:p>
          <a:p>
            <a:pPr marL="285750" lvl="1" indent="-285750" defTabSz="896181">
              <a:spcBef>
                <a:spcPts val="600"/>
              </a:spcBef>
              <a:spcAft>
                <a:spcPts val="600"/>
              </a:spcAft>
              <a:buSzPct val="90000"/>
              <a:buFontTx/>
              <a:buChar char="-"/>
            </a:pPr>
            <a:r>
              <a:rPr lang="en-US" sz="1300">
                <a:cs typeface="Segoe UI" panose="020B0502040204020203" pitchFamily="34" charset="0"/>
              </a:rPr>
              <a:t>Determine which of your current learning investments integrate with Viva Learning (see the full list of partners on the </a:t>
            </a:r>
            <a:r>
              <a:rPr lang="en-US" sz="1300">
                <a:cs typeface="Segoe UI" panose="020B0502040204020203" pitchFamily="34" charset="0"/>
                <a:hlinkClick r:id="rId3"/>
              </a:rPr>
              <a:t>webpage</a:t>
            </a:r>
            <a:r>
              <a:rPr lang="en-US" sz="1300">
                <a:cs typeface="Segoe UI" panose="020B0502040204020203" pitchFamily="34" charset="0"/>
              </a:rPr>
              <a:t>). </a:t>
            </a:r>
          </a:p>
          <a:p>
            <a:pPr marL="285750" lvl="1" indent="-285750" defTabSz="896181">
              <a:spcBef>
                <a:spcPts val="600"/>
              </a:spcBef>
              <a:spcAft>
                <a:spcPts val="600"/>
              </a:spcAft>
              <a:buSzPct val="90000"/>
              <a:buFontTx/>
              <a:buChar char="-"/>
            </a:pPr>
            <a:r>
              <a:rPr lang="en-US" sz="1300">
                <a:cs typeface="Segoe UI" panose="020B0502040204020203" pitchFamily="34" charset="0"/>
              </a:rPr>
              <a:t>Think about how Viva Learning fills gaps that your other learning investments leave.</a:t>
            </a:r>
            <a:endParaRPr lang="en-US" sz="1300" b="1">
              <a:cs typeface="Segoe UI" panose="020B0502040204020203" pitchFamily="34" charset="0"/>
            </a:endParaRPr>
          </a:p>
        </p:txBody>
      </p:sp>
      <p:pic>
        <p:nvPicPr>
          <p:cNvPr id="3074" name="Picture 2" descr="M365CO19_SMB_HPEliteBook_042">
            <a:extLst>
              <a:ext uri="{FF2B5EF4-FFF2-40B4-BE49-F238E27FC236}">
                <a16:creationId xmlns:a16="http://schemas.microsoft.com/office/drawing/2014/main" id="{84D99C8D-90CD-49A7-88D6-9A3BB74E4C3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25718"/>
          <a:stretch/>
        </p:blipFill>
        <p:spPr bwMode="auto">
          <a:xfrm>
            <a:off x="7925183" y="1720475"/>
            <a:ext cx="4343017" cy="3897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796365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B1375F54-ACF3-492B-90B2-2EC7B7281E35}"/>
              </a:ext>
            </a:extLst>
          </p:cNvPr>
          <p:cNvSpPr/>
          <p:nvPr/>
        </p:nvSpPr>
        <p:spPr bwMode="auto">
          <a:xfrm rot="5400000">
            <a:off x="2592405" y="916428"/>
            <a:ext cx="2225639" cy="74104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Rectangle: Single Corner Rounded 4">
            <a:extLst>
              <a:ext uri="{FF2B5EF4-FFF2-40B4-BE49-F238E27FC236}">
                <a16:creationId xmlns:a16="http://schemas.microsoft.com/office/drawing/2014/main" id="{87FED681-E743-4A4A-AE8E-A317F6EF35E3}"/>
              </a:ext>
            </a:extLst>
          </p:cNvPr>
          <p:cNvSpPr/>
          <p:nvPr/>
        </p:nvSpPr>
        <p:spPr bwMode="auto">
          <a:xfrm rot="10800000">
            <a:off x="7410450" y="-1"/>
            <a:ext cx="4781550" cy="6572250"/>
          </a:xfrm>
          <a:prstGeom prst="round1Rect">
            <a:avLst>
              <a:gd name="adj" fmla="val 3254"/>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588263" y="457200"/>
            <a:ext cx="11018520" cy="553998"/>
          </a:xfrm>
        </p:spPr>
        <p:txBody>
          <a:bodyPr/>
          <a:lstStyle/>
          <a:p>
            <a:r>
              <a:rPr lang="en-US"/>
              <a:t>Determine target scenarios</a:t>
            </a:r>
          </a:p>
        </p:txBody>
      </p:sp>
      <p:sp>
        <p:nvSpPr>
          <p:cNvPr id="12" name="TextBox 11" hidden="1">
            <a:extLst>
              <a:ext uri="{FF2B5EF4-FFF2-40B4-BE49-F238E27FC236}">
                <a16:creationId xmlns:a16="http://schemas.microsoft.com/office/drawing/2014/main" id="{D77F9333-7AF2-4F86-BE3F-29FDDC1E5350}"/>
              </a:ext>
            </a:extLst>
          </p:cNvPr>
          <p:cNvSpPr txBox="1"/>
          <p:nvPr/>
        </p:nvSpPr>
        <p:spPr>
          <a:xfrm>
            <a:off x="312036" y="3126397"/>
            <a:ext cx="6960407" cy="246221"/>
          </a:xfrm>
          <a:prstGeom prst="rect">
            <a:avLst/>
          </a:prstGeom>
          <a:noFill/>
        </p:spPr>
        <p:txBody>
          <a:bodyPr wrap="square" lIns="0" tIns="0" rIns="0" bIns="0">
            <a:spAutoFit/>
          </a:bodyPr>
          <a:lstStyle/>
          <a:p>
            <a:endParaRPr lang="en-US" sz="1600">
              <a:latin typeface="Segoe UI" panose="020B0502040204020203" pitchFamily="34" charset="0"/>
            </a:endParaRPr>
          </a:p>
        </p:txBody>
      </p:sp>
      <p:pic>
        <p:nvPicPr>
          <p:cNvPr id="30" name="Picture 29" descr="People talking">
            <a:extLst>
              <a:ext uri="{FF2B5EF4-FFF2-40B4-BE49-F238E27FC236}">
                <a16:creationId xmlns:a16="http://schemas.microsoft.com/office/drawing/2014/main" id="{D1DA3D7D-6317-4B43-BABD-FC801FBC25E0}"/>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7379" t="3957" r="29569" b="1074"/>
          <a:stretch/>
        </p:blipFill>
        <p:spPr>
          <a:xfrm>
            <a:off x="7590505" y="0"/>
            <a:ext cx="4601497" cy="6400800"/>
          </a:xfrm>
          <a:custGeom>
            <a:avLst/>
            <a:gdLst>
              <a:gd name="connsiteX0" fmla="*/ 0 w 4601497"/>
              <a:gd name="connsiteY0" fmla="*/ 0 h 6400800"/>
              <a:gd name="connsiteX1" fmla="*/ 4601497 w 4601497"/>
              <a:gd name="connsiteY1" fmla="*/ 0 h 6400800"/>
              <a:gd name="connsiteX2" fmla="*/ 4601497 w 4601497"/>
              <a:gd name="connsiteY2" fmla="*/ 6400800 h 6400800"/>
              <a:gd name="connsiteX3" fmla="*/ 0 w 4601497"/>
              <a:gd name="connsiteY3" fmla="*/ 6400800 h 6400800"/>
            </a:gdLst>
            <a:ahLst/>
            <a:cxnLst>
              <a:cxn ang="0">
                <a:pos x="connsiteX0" y="connsiteY0"/>
              </a:cxn>
              <a:cxn ang="0">
                <a:pos x="connsiteX1" y="connsiteY1"/>
              </a:cxn>
              <a:cxn ang="0">
                <a:pos x="connsiteX2" y="connsiteY2"/>
              </a:cxn>
              <a:cxn ang="0">
                <a:pos x="connsiteX3" y="connsiteY3"/>
              </a:cxn>
            </a:cxnLst>
            <a:rect l="l" t="t" r="r" b="b"/>
            <a:pathLst>
              <a:path w="4601497" h="6400800">
                <a:moveTo>
                  <a:pt x="0" y="0"/>
                </a:moveTo>
                <a:lnTo>
                  <a:pt x="4601497" y="0"/>
                </a:lnTo>
                <a:lnTo>
                  <a:pt x="4601497" y="6400800"/>
                </a:lnTo>
                <a:lnTo>
                  <a:pt x="0" y="6400800"/>
                </a:lnTo>
                <a:close/>
              </a:path>
            </a:pathLst>
          </a:custGeom>
        </p:spPr>
      </p:pic>
      <p:sp>
        <p:nvSpPr>
          <p:cNvPr id="31" name="Rectangle 30">
            <a:extLst>
              <a:ext uri="{FF2B5EF4-FFF2-40B4-BE49-F238E27FC236}">
                <a16:creationId xmlns:a16="http://schemas.microsoft.com/office/drawing/2014/main" id="{CAF132A2-DF92-4FCB-9FAA-C6408CAF83A5}"/>
              </a:ext>
            </a:extLst>
          </p:cNvPr>
          <p:cNvSpPr/>
          <p:nvPr/>
        </p:nvSpPr>
        <p:spPr>
          <a:xfrm>
            <a:off x="684878" y="3017909"/>
            <a:ext cx="1939313" cy="276999"/>
          </a:xfrm>
          <a:prstGeom prst="rect">
            <a:avLst/>
          </a:prstGeom>
        </p:spPr>
        <p:txBody>
          <a:bodyPr wrap="none" lIns="0" tIns="0" rIns="0" bIns="0">
            <a:spAutoFit/>
          </a:bodyPr>
          <a:lstStyle/>
          <a:p>
            <a:pPr marL="0" lvl="1" defTabSz="896181">
              <a:spcBef>
                <a:spcPts val="600"/>
              </a:spcBef>
              <a:spcAft>
                <a:spcPts val="600"/>
              </a:spcAft>
              <a:buSzPct val="90000"/>
            </a:pPr>
            <a:r>
              <a:rPr lang="en-US">
                <a:solidFill>
                  <a:schemeClr val="accent1"/>
                </a:solidFill>
                <a:latin typeface="+mj-lt"/>
                <a:cs typeface="Segoe UI" panose="020B0502040204020203" pitchFamily="34" charset="0"/>
              </a:rPr>
              <a:t>Target scenarios…</a:t>
            </a:r>
          </a:p>
        </p:txBody>
      </p:sp>
      <p:sp>
        <p:nvSpPr>
          <p:cNvPr id="32" name="Rectangle 31">
            <a:extLst>
              <a:ext uri="{FF2B5EF4-FFF2-40B4-BE49-F238E27FC236}">
                <a16:creationId xmlns:a16="http://schemas.microsoft.com/office/drawing/2014/main" id="{1133F457-C9A7-4FBD-9B5C-412F2610FDEE}"/>
              </a:ext>
            </a:extLst>
          </p:cNvPr>
          <p:cNvSpPr/>
          <p:nvPr/>
        </p:nvSpPr>
        <p:spPr bwMode="auto">
          <a:xfrm>
            <a:off x="0" y="1123534"/>
            <a:ext cx="7410446" cy="138067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94360" tIns="45720" rIns="91440" bIns="45720" numCol="1" spcCol="0" rtlCol="0" fromWordArt="0" anchor="ctr" anchorCtr="0" forceAA="0" compatLnSpc="1">
            <a:prstTxWarp prst="textNoShape">
              <a:avLst/>
            </a:prstTxWarp>
            <a:noAutofit/>
          </a:bodyPr>
          <a:lstStyle/>
          <a:p>
            <a:r>
              <a:rPr lang="en-US">
                <a:solidFill>
                  <a:schemeClr val="tx1"/>
                </a:solidFill>
                <a:latin typeface="+mj-lt"/>
              </a:rPr>
              <a:t>Target scenarios describe how your employees will use Microsoft Viva Learning to address business challenges and achieve organizational, cultural, tangible, or individual adoption outcomes.</a:t>
            </a:r>
          </a:p>
        </p:txBody>
      </p:sp>
      <p:sp>
        <p:nvSpPr>
          <p:cNvPr id="35" name="Rectangle 34">
            <a:extLst>
              <a:ext uri="{FF2B5EF4-FFF2-40B4-BE49-F238E27FC236}">
                <a16:creationId xmlns:a16="http://schemas.microsoft.com/office/drawing/2014/main" id="{7FF00FA4-A308-4BEF-A680-E6AA5EB3440D}"/>
              </a:ext>
            </a:extLst>
          </p:cNvPr>
          <p:cNvSpPr/>
          <p:nvPr/>
        </p:nvSpPr>
        <p:spPr>
          <a:xfrm>
            <a:off x="587341" y="3644130"/>
            <a:ext cx="6370549" cy="2225640"/>
          </a:xfrm>
          <a:prstGeom prst="rect">
            <a:avLst/>
          </a:prstGeom>
        </p:spPr>
        <p:txBody>
          <a:bodyPr wrap="square" lIns="0" tIns="0" rIns="0" bIns="0">
            <a:noAutofit/>
          </a:bodyPr>
          <a:lstStyle/>
          <a:p>
            <a:pPr marL="285750" indent="-285750">
              <a:spcAft>
                <a:spcPts val="1200"/>
              </a:spcAft>
              <a:buFont typeface="Verdana" panose="020B0604030504040204" pitchFamily="34" charset="0"/>
              <a:buChar char="-"/>
            </a:pPr>
            <a:r>
              <a:rPr lang="en-US"/>
              <a:t>Help you understand how to get the most out of Microsoft Viva Learning</a:t>
            </a:r>
          </a:p>
          <a:p>
            <a:pPr marL="285750" indent="-285750">
              <a:spcAft>
                <a:spcPts val="1200"/>
              </a:spcAft>
              <a:buFont typeface="Verdana" panose="020B0604030504040204" pitchFamily="34" charset="0"/>
              <a:buChar char="-"/>
            </a:pPr>
            <a:r>
              <a:rPr lang="en-US"/>
              <a:t>Act as input and validation of Microsoft Viva Learning awareness messaging</a:t>
            </a:r>
          </a:p>
          <a:p>
            <a:pPr marL="285750" indent="-285750">
              <a:spcAft>
                <a:spcPts val="1200"/>
              </a:spcAft>
              <a:buFont typeface="Verdana" panose="020B0604030504040204" pitchFamily="34" charset="0"/>
              <a:buChar char="-"/>
            </a:pPr>
            <a:r>
              <a:rPr lang="en-US"/>
              <a:t>Put Microsoft Viva Learning in context so employees know when and how to use it</a:t>
            </a:r>
          </a:p>
        </p:txBody>
      </p:sp>
      <p:cxnSp>
        <p:nvCxnSpPr>
          <p:cNvPr id="7" name="Straight Connector 6">
            <a:extLst>
              <a:ext uri="{FF2B5EF4-FFF2-40B4-BE49-F238E27FC236}">
                <a16:creationId xmlns:a16="http://schemas.microsoft.com/office/drawing/2014/main" id="{803E3BD0-8ED8-4336-97AB-58D253BF0FBA}"/>
              </a:ext>
            </a:extLst>
          </p:cNvPr>
          <p:cNvCxnSpPr/>
          <p:nvPr/>
        </p:nvCxnSpPr>
        <p:spPr>
          <a:xfrm>
            <a:off x="0" y="3398828"/>
            <a:ext cx="7410450" cy="0"/>
          </a:xfrm>
          <a:prstGeom prst="line">
            <a:avLst/>
          </a:prstGeom>
          <a:ln w="2540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descr="A person sitting on a couch with a computer and a cat&#10;&#10;Description automatically generated with medium confidence">
            <a:extLst>
              <a:ext uri="{FF2B5EF4-FFF2-40B4-BE49-F238E27FC236}">
                <a16:creationId xmlns:a16="http://schemas.microsoft.com/office/drawing/2014/main" id="{92D9AEAA-850C-4388-A374-CDB7F850CFF6}"/>
              </a:ext>
            </a:extLst>
          </p:cNvPr>
          <p:cNvPicPr>
            <a:picLocks noChangeAspect="1"/>
          </p:cNvPicPr>
          <p:nvPr/>
        </p:nvPicPr>
        <p:blipFill rotWithShape="1">
          <a:blip r:embed="rId4">
            <a:extLst>
              <a:ext uri="{28A0092B-C50C-407E-A947-70E740481C1C}">
                <a14:useLocalDpi xmlns:a14="http://schemas.microsoft.com/office/drawing/2010/main" val="0"/>
              </a:ext>
            </a:extLst>
          </a:blip>
          <a:srcRect l="13829" t="687" r="38245" b="-687"/>
          <a:stretch/>
        </p:blipFill>
        <p:spPr>
          <a:xfrm>
            <a:off x="7590505" y="0"/>
            <a:ext cx="4601495" cy="6400800"/>
          </a:xfrm>
          <a:prstGeom prst="rect">
            <a:avLst/>
          </a:prstGeom>
        </p:spPr>
      </p:pic>
    </p:spTree>
    <p:extLst>
      <p:ext uri="{BB962C8B-B14F-4D97-AF65-F5344CB8AC3E}">
        <p14:creationId xmlns:p14="http://schemas.microsoft.com/office/powerpoint/2010/main" val="18124942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Arrow: Bent 100">
            <a:extLst>
              <a:ext uri="{FF2B5EF4-FFF2-40B4-BE49-F238E27FC236}">
                <a16:creationId xmlns:a16="http://schemas.microsoft.com/office/drawing/2014/main" id="{ADE50148-3EE0-4BB5-A352-AA63C5BE6BC5}"/>
              </a:ext>
            </a:extLst>
          </p:cNvPr>
          <p:cNvSpPr/>
          <p:nvPr/>
        </p:nvSpPr>
        <p:spPr bwMode="auto">
          <a:xfrm rot="16200000">
            <a:off x="-355254" y="2310270"/>
            <a:ext cx="5217889" cy="3340541"/>
          </a:xfrm>
          <a:prstGeom prst="bentArrow">
            <a:avLst>
              <a:gd name="adj1" fmla="val 25000"/>
              <a:gd name="adj2" fmla="val 0"/>
              <a:gd name="adj3" fmla="val 25000"/>
              <a:gd name="adj4" fmla="val 340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2" name="Arrow: Bent 101">
            <a:extLst>
              <a:ext uri="{FF2B5EF4-FFF2-40B4-BE49-F238E27FC236}">
                <a16:creationId xmlns:a16="http://schemas.microsoft.com/office/drawing/2014/main" id="{B40CC6B2-59F8-43BA-838D-D1C717B5D0A5}"/>
              </a:ext>
            </a:extLst>
          </p:cNvPr>
          <p:cNvSpPr/>
          <p:nvPr/>
        </p:nvSpPr>
        <p:spPr bwMode="auto">
          <a:xfrm rot="16200000">
            <a:off x="3485039" y="2310270"/>
            <a:ext cx="5217889" cy="3340541"/>
          </a:xfrm>
          <a:prstGeom prst="bentArrow">
            <a:avLst>
              <a:gd name="adj1" fmla="val 25000"/>
              <a:gd name="adj2" fmla="val 0"/>
              <a:gd name="adj3" fmla="val 25000"/>
              <a:gd name="adj4" fmla="val 340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3" name="Arrow: Bent 102">
            <a:extLst>
              <a:ext uri="{FF2B5EF4-FFF2-40B4-BE49-F238E27FC236}">
                <a16:creationId xmlns:a16="http://schemas.microsoft.com/office/drawing/2014/main" id="{7DCE3523-BC7D-44CB-9EEC-253622690466}"/>
              </a:ext>
            </a:extLst>
          </p:cNvPr>
          <p:cNvSpPr/>
          <p:nvPr/>
        </p:nvSpPr>
        <p:spPr bwMode="auto">
          <a:xfrm rot="16200000">
            <a:off x="7325332" y="2310270"/>
            <a:ext cx="5217889" cy="3340541"/>
          </a:xfrm>
          <a:prstGeom prst="bentArrow">
            <a:avLst>
              <a:gd name="adj1" fmla="val 25000"/>
              <a:gd name="adj2" fmla="val 0"/>
              <a:gd name="adj3" fmla="val 25000"/>
              <a:gd name="adj4" fmla="val 340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4" name="Oval 103">
            <a:extLst>
              <a:ext uri="{FF2B5EF4-FFF2-40B4-BE49-F238E27FC236}">
                <a16:creationId xmlns:a16="http://schemas.microsoft.com/office/drawing/2014/main" id="{28777179-7957-4A50-A107-5E38C9352FAF}"/>
              </a:ext>
            </a:extLst>
          </p:cNvPr>
          <p:cNvSpPr/>
          <p:nvPr/>
        </p:nvSpPr>
        <p:spPr bwMode="auto">
          <a:xfrm>
            <a:off x="3923961" y="6567810"/>
            <a:ext cx="50345" cy="50345"/>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5" name="Oval 104">
            <a:extLst>
              <a:ext uri="{FF2B5EF4-FFF2-40B4-BE49-F238E27FC236}">
                <a16:creationId xmlns:a16="http://schemas.microsoft.com/office/drawing/2014/main" id="{53814C71-054E-46A1-BDC5-DDFB5A514632}"/>
              </a:ext>
            </a:extLst>
          </p:cNvPr>
          <p:cNvSpPr/>
          <p:nvPr/>
        </p:nvSpPr>
        <p:spPr bwMode="auto">
          <a:xfrm>
            <a:off x="7741502" y="6567810"/>
            <a:ext cx="50345" cy="50345"/>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6" name="Oval 105">
            <a:extLst>
              <a:ext uri="{FF2B5EF4-FFF2-40B4-BE49-F238E27FC236}">
                <a16:creationId xmlns:a16="http://schemas.microsoft.com/office/drawing/2014/main" id="{1DACF8CD-F570-4FCF-85FD-7D42805E76D8}"/>
              </a:ext>
            </a:extLst>
          </p:cNvPr>
          <p:cNvSpPr/>
          <p:nvPr/>
        </p:nvSpPr>
        <p:spPr bwMode="auto">
          <a:xfrm>
            <a:off x="11579374" y="6567810"/>
            <a:ext cx="50345" cy="50345"/>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95" name="Picture 94" descr="Graphical user interface&#10;&#10;Description automatically generated">
            <a:extLst>
              <a:ext uri="{FF2B5EF4-FFF2-40B4-BE49-F238E27FC236}">
                <a16:creationId xmlns:a16="http://schemas.microsoft.com/office/drawing/2014/main" id="{97B0EBC1-53C4-463C-9EA6-E186F7A64643}"/>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7452" r="7296"/>
          <a:stretch/>
        </p:blipFill>
        <p:spPr>
          <a:xfrm>
            <a:off x="4428556" y="1343349"/>
            <a:ext cx="3340539" cy="1811269"/>
          </a:xfrm>
          <a:custGeom>
            <a:avLst/>
            <a:gdLst>
              <a:gd name="connsiteX0" fmla="*/ 0 w 3340539"/>
              <a:gd name="connsiteY0" fmla="*/ 0 h 1811269"/>
              <a:gd name="connsiteX1" fmla="*/ 3340539 w 3340539"/>
              <a:gd name="connsiteY1" fmla="*/ 0 h 1811269"/>
              <a:gd name="connsiteX2" fmla="*/ 3340539 w 3340539"/>
              <a:gd name="connsiteY2" fmla="*/ 1811269 h 1811269"/>
              <a:gd name="connsiteX3" fmla="*/ 0 w 3340539"/>
              <a:gd name="connsiteY3" fmla="*/ 1811269 h 1811269"/>
            </a:gdLst>
            <a:ahLst/>
            <a:cxnLst>
              <a:cxn ang="0">
                <a:pos x="connsiteX0" y="connsiteY0"/>
              </a:cxn>
              <a:cxn ang="0">
                <a:pos x="connsiteX1" y="connsiteY1"/>
              </a:cxn>
              <a:cxn ang="0">
                <a:pos x="connsiteX2" y="connsiteY2"/>
              </a:cxn>
              <a:cxn ang="0">
                <a:pos x="connsiteX3" y="connsiteY3"/>
              </a:cxn>
            </a:cxnLst>
            <a:rect l="l" t="t" r="r" b="b"/>
            <a:pathLst>
              <a:path w="3340539" h="1811269">
                <a:moveTo>
                  <a:pt x="0" y="0"/>
                </a:moveTo>
                <a:lnTo>
                  <a:pt x="3340539" y="0"/>
                </a:lnTo>
                <a:lnTo>
                  <a:pt x="3340539" y="1811269"/>
                </a:lnTo>
                <a:lnTo>
                  <a:pt x="0" y="1811269"/>
                </a:lnTo>
                <a:close/>
              </a:path>
            </a:pathLst>
          </a:custGeom>
        </p:spPr>
      </p:pic>
      <p:graphicFrame>
        <p:nvGraphicFramePr>
          <p:cNvPr id="12" name="Object 11" hidden="1">
            <a:extLst>
              <a:ext uri="{FF2B5EF4-FFF2-40B4-BE49-F238E27FC236}">
                <a16:creationId xmlns:a16="http://schemas.microsoft.com/office/drawing/2014/main" id="{B8A9749B-FDFB-4B39-B21E-DBBF3D6289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7" imgW="425" imgH="424" progId="TCLayout.ActiveDocument.1">
                  <p:embed/>
                </p:oleObj>
              </mc:Choice>
              <mc:Fallback>
                <p:oleObj name="think-cell Slide" r:id="rId7" imgW="425" imgH="424" progId="TCLayout.ActiveDocument.1">
                  <p:embed/>
                  <p:pic>
                    <p:nvPicPr>
                      <p:cNvPr id="12" name="Object 11" hidden="1">
                        <a:extLst>
                          <a:ext uri="{FF2B5EF4-FFF2-40B4-BE49-F238E27FC236}">
                            <a16:creationId xmlns:a16="http://schemas.microsoft.com/office/drawing/2014/main" id="{B8A9749B-FDFB-4B39-B21E-DBBF3D62890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75DCE43-5473-4523-A107-CB2A3070238D}"/>
              </a:ext>
            </a:extLst>
          </p:cNvPr>
          <p:cNvSpPr/>
          <p:nvPr>
            <p:custDataLst>
              <p:tags r:id="rId3"/>
            </p:custDataLst>
          </p:nvPr>
        </p:nvSpPr>
        <p:spPr bwMode="auto">
          <a:xfrm>
            <a:off x="0" y="0"/>
            <a:ext cx="158750" cy="158750"/>
          </a:xfrm>
          <a:prstGeom prst="rect">
            <a:avLst/>
          </a:prstGeom>
          <a:noFill/>
          <a:ln>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3000" b="0" i="0" u="none" strike="noStrike" kern="1200" cap="none" spc="0" normalizeH="0" baseline="0" noProof="0">
              <a:ln>
                <a:noFill/>
              </a:ln>
              <a:solidFill>
                <a:srgbClr val="282828"/>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4" name="Title 3">
            <a:extLst>
              <a:ext uri="{FF2B5EF4-FFF2-40B4-BE49-F238E27FC236}">
                <a16:creationId xmlns:a16="http://schemas.microsoft.com/office/drawing/2014/main" id="{DF04831D-C6D0-4D50-A4B1-2E3BD487B3FF}"/>
              </a:ext>
            </a:extLst>
          </p:cNvPr>
          <p:cNvSpPr>
            <a:spLocks noGrp="1"/>
          </p:cNvSpPr>
          <p:nvPr>
            <p:ph type="title"/>
          </p:nvPr>
        </p:nvSpPr>
        <p:spPr/>
        <p:txBody>
          <a:bodyPr/>
          <a:lstStyle/>
          <a:p>
            <a:r>
              <a:rPr lang="en-US"/>
              <a:t>Target adoption scenario examples: Learner</a:t>
            </a:r>
          </a:p>
        </p:txBody>
      </p:sp>
      <p:grpSp>
        <p:nvGrpSpPr>
          <p:cNvPr id="10" name="Group 9">
            <a:extLst>
              <a:ext uri="{FF2B5EF4-FFF2-40B4-BE49-F238E27FC236}">
                <a16:creationId xmlns:a16="http://schemas.microsoft.com/office/drawing/2014/main" id="{CA44184E-92B4-4978-9390-B32425ED3728}"/>
              </a:ext>
            </a:extLst>
          </p:cNvPr>
          <p:cNvGrpSpPr/>
          <p:nvPr/>
        </p:nvGrpSpPr>
        <p:grpSpPr>
          <a:xfrm>
            <a:off x="582612" y="4154040"/>
            <a:ext cx="3346190" cy="666981"/>
            <a:chOff x="582612" y="4197582"/>
            <a:chExt cx="3346190" cy="666981"/>
          </a:xfrm>
        </p:grpSpPr>
        <p:sp>
          <p:nvSpPr>
            <p:cNvPr id="70" name="Rectangle 69">
              <a:extLst>
                <a:ext uri="{FF2B5EF4-FFF2-40B4-BE49-F238E27FC236}">
                  <a16:creationId xmlns:a16="http://schemas.microsoft.com/office/drawing/2014/main" id="{C3F86978-C467-4ADE-AE86-C01777118325}"/>
                </a:ext>
              </a:extLst>
            </p:cNvPr>
            <p:cNvSpPr/>
            <p:nvPr/>
          </p:nvSpPr>
          <p:spPr bwMode="auto">
            <a:xfrm>
              <a:off x="582612" y="4197582"/>
              <a:ext cx="3017838" cy="66698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chemeClr val="bg1"/>
                </a:solidFill>
                <a:effectLst/>
                <a:uLnTx/>
                <a:uFillTx/>
                <a:latin typeface="+mj-lt"/>
                <a:ea typeface="+mn-ea"/>
                <a:cs typeface="Times New Roman" panose="02020603050405020304" pitchFamily="18" charset="0"/>
              </a:endParaRPr>
            </a:p>
          </p:txBody>
        </p:sp>
        <p:sp>
          <p:nvSpPr>
            <p:cNvPr id="82" name="TextBox 81">
              <a:extLst>
                <a:ext uri="{FF2B5EF4-FFF2-40B4-BE49-F238E27FC236}">
                  <a16:creationId xmlns:a16="http://schemas.microsoft.com/office/drawing/2014/main" id="{EB3611EA-B313-4213-B301-1828A4A74489}"/>
                </a:ext>
              </a:extLst>
            </p:cNvPr>
            <p:cNvSpPr txBox="1"/>
            <p:nvPr/>
          </p:nvSpPr>
          <p:spPr>
            <a:xfrm>
              <a:off x="720718" y="4284851"/>
              <a:ext cx="2466111" cy="492443"/>
            </a:xfrm>
            <a:prstGeom prst="rect">
              <a:avLst/>
            </a:prstGeom>
            <a:noFill/>
          </p:spPr>
          <p:txBody>
            <a:bodyPr wrap="squar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Chat and </a:t>
              </a:r>
            </a:p>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conversation</a:t>
              </a:r>
            </a:p>
          </p:txBody>
        </p:sp>
        <p:grpSp>
          <p:nvGrpSpPr>
            <p:cNvPr id="9" name="Group 8">
              <a:extLst>
                <a:ext uri="{FF2B5EF4-FFF2-40B4-BE49-F238E27FC236}">
                  <a16:creationId xmlns:a16="http://schemas.microsoft.com/office/drawing/2014/main" id="{AB36F478-CF7F-455C-9F03-976CB109B340}"/>
                </a:ext>
              </a:extLst>
            </p:cNvPr>
            <p:cNvGrpSpPr/>
            <p:nvPr/>
          </p:nvGrpSpPr>
          <p:grpSpPr>
            <a:xfrm>
              <a:off x="3261821" y="4197582"/>
              <a:ext cx="666981" cy="666981"/>
              <a:chOff x="3555362" y="4197582"/>
              <a:chExt cx="666981" cy="666981"/>
            </a:xfrm>
          </p:grpSpPr>
          <p:sp>
            <p:nvSpPr>
              <p:cNvPr id="71" name="Oval 70">
                <a:extLst>
                  <a:ext uri="{FF2B5EF4-FFF2-40B4-BE49-F238E27FC236}">
                    <a16:creationId xmlns:a16="http://schemas.microsoft.com/office/drawing/2014/main" id="{E46A4394-00EA-40B2-95AF-E3E37BF0089A}"/>
                  </a:ext>
                </a:extLst>
              </p:cNvPr>
              <p:cNvSpPr/>
              <p:nvPr/>
            </p:nvSpPr>
            <p:spPr bwMode="auto">
              <a:xfrm rot="5400000">
                <a:off x="3555362" y="4197582"/>
                <a:ext cx="666981" cy="666981"/>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chemeClr val="bg1"/>
                  </a:solidFill>
                  <a:effectLst/>
                  <a:uLnTx/>
                  <a:uFillTx/>
                  <a:latin typeface="+mj-lt"/>
                  <a:ea typeface="Times New Roman" panose="02020603050405020304" pitchFamily="18" charset="0"/>
                  <a:cs typeface="Times New Roman" panose="02020603050405020304" pitchFamily="18" charset="0"/>
                </a:endParaRPr>
              </a:p>
            </p:txBody>
          </p:sp>
          <p:sp>
            <p:nvSpPr>
              <p:cNvPr id="72" name="Oval 71">
                <a:extLst>
                  <a:ext uri="{FF2B5EF4-FFF2-40B4-BE49-F238E27FC236}">
                    <a16:creationId xmlns:a16="http://schemas.microsoft.com/office/drawing/2014/main" id="{3E063EE5-4EA8-47A9-A194-51C0994BEEF4}"/>
                  </a:ext>
                </a:extLst>
              </p:cNvPr>
              <p:cNvSpPr/>
              <p:nvPr/>
            </p:nvSpPr>
            <p:spPr bwMode="auto">
              <a:xfrm rot="5400000">
                <a:off x="3614610" y="4256830"/>
                <a:ext cx="548485" cy="5484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chemeClr val="bg1"/>
                  </a:solidFill>
                  <a:effectLst/>
                  <a:uLnTx/>
                  <a:uFillTx/>
                  <a:latin typeface="+mj-lt"/>
                  <a:ea typeface="Times New Roman" panose="02020603050405020304" pitchFamily="18" charset="0"/>
                  <a:cs typeface="Times New Roman" panose="02020603050405020304" pitchFamily="18" charset="0"/>
                </a:endParaRPr>
              </a:p>
            </p:txBody>
          </p:sp>
          <p:sp>
            <p:nvSpPr>
              <p:cNvPr id="85" name="people_11" title="Icon of two people with a chat bubble">
                <a:extLst>
                  <a:ext uri="{FF2B5EF4-FFF2-40B4-BE49-F238E27FC236}">
                    <a16:creationId xmlns:a16="http://schemas.microsoft.com/office/drawing/2014/main" id="{73559A19-C464-428C-A270-163A185B5D91}"/>
                  </a:ext>
                </a:extLst>
              </p:cNvPr>
              <p:cNvSpPr>
                <a:spLocks noChangeAspect="1" noEditPoints="1"/>
              </p:cNvSpPr>
              <p:nvPr/>
            </p:nvSpPr>
            <p:spPr bwMode="auto">
              <a:xfrm>
                <a:off x="3725105" y="4364050"/>
                <a:ext cx="356664" cy="33404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9525"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600" b="0" i="0" u="none" strike="noStrike" kern="1200" cap="none" spc="0" normalizeH="0" baseline="0" noProof="0">
                  <a:ln>
                    <a:noFill/>
                  </a:ln>
                  <a:solidFill>
                    <a:schemeClr val="bg1"/>
                  </a:solidFill>
                  <a:effectLst/>
                  <a:uLnTx/>
                  <a:uFillTx/>
                  <a:latin typeface="+mj-lt"/>
                  <a:ea typeface="+mn-ea"/>
                  <a:cs typeface="+mn-cs"/>
                </a:endParaRPr>
              </a:p>
            </p:txBody>
          </p:sp>
        </p:grpSp>
      </p:grpSp>
      <p:pic>
        <p:nvPicPr>
          <p:cNvPr id="41" name="Picture 40">
            <a:extLst>
              <a:ext uri="{FF2B5EF4-FFF2-40B4-BE49-F238E27FC236}">
                <a16:creationId xmlns:a16="http://schemas.microsoft.com/office/drawing/2014/main" id="{E7481EAA-F015-4B8F-A202-B9756D551818}"/>
              </a:ext>
            </a:extLst>
          </p:cNvPr>
          <p:cNvPicPr>
            <a:picLocks/>
          </p:cNvPicPr>
          <p:nvPr/>
        </p:nvPicPr>
        <p:blipFill rotWithShape="1">
          <a:blip r:embed="rId9" cstate="hqprint">
            <a:alphaModFix/>
            <a:extLst>
              <a:ext uri="{28A0092B-C50C-407E-A947-70E740481C1C}">
                <a14:useLocalDpi xmlns:a14="http://schemas.microsoft.com/office/drawing/2010/main" val="0"/>
              </a:ext>
            </a:extLst>
          </a:blip>
          <a:srcRect l="13013" r="1960"/>
          <a:stretch/>
        </p:blipFill>
        <p:spPr>
          <a:xfrm>
            <a:off x="582612" y="1343349"/>
            <a:ext cx="3340539" cy="1811269"/>
          </a:xfrm>
          <a:prstGeom prst="rect">
            <a:avLst/>
          </a:prstGeom>
          <a:solidFill>
            <a:schemeClr val="accent2">
              <a:lumMod val="75000"/>
            </a:schemeClr>
          </a:solidFill>
          <a:ln>
            <a:noFill/>
          </a:ln>
        </p:spPr>
      </p:pic>
      <p:sp>
        <p:nvSpPr>
          <p:cNvPr id="55" name="TextBox 54">
            <a:extLst>
              <a:ext uri="{FF2B5EF4-FFF2-40B4-BE49-F238E27FC236}">
                <a16:creationId xmlns:a16="http://schemas.microsoft.com/office/drawing/2014/main" id="{D64DEE32-5B7E-4873-850E-560AD94886FC}"/>
              </a:ext>
            </a:extLst>
          </p:cNvPr>
          <p:cNvSpPr txBox="1"/>
          <p:nvPr/>
        </p:nvSpPr>
        <p:spPr>
          <a:xfrm>
            <a:off x="582612" y="3151120"/>
            <a:ext cx="3346190" cy="912880"/>
          </a:xfrm>
          <a:prstGeom prst="rect">
            <a:avLst/>
          </a:prstGeom>
          <a:solidFill>
            <a:schemeClr val="bg1">
              <a:lumMod val="95000"/>
            </a:schemeClr>
          </a:solidFill>
        </p:spPr>
        <p:txBody>
          <a:bodyPr wrap="square" lIns="91440" tIns="45720" rIns="91440" bIns="45720" rtlCol="0" anchor="ctr">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In a meeting with a colleague, they mention wanting to brush up on their data analysis skills</a:t>
            </a:r>
          </a:p>
        </p:txBody>
      </p:sp>
      <p:sp>
        <p:nvSpPr>
          <p:cNvPr id="56" name="TextBox 55">
            <a:extLst>
              <a:ext uri="{FF2B5EF4-FFF2-40B4-BE49-F238E27FC236}">
                <a16:creationId xmlns:a16="http://schemas.microsoft.com/office/drawing/2014/main" id="{4CB17716-88DA-4736-859F-CC8D98CFD01F}"/>
              </a:ext>
            </a:extLst>
          </p:cNvPr>
          <p:cNvSpPr txBox="1"/>
          <p:nvPr/>
        </p:nvSpPr>
        <p:spPr>
          <a:xfrm>
            <a:off x="4423712" y="3151120"/>
            <a:ext cx="3346190" cy="912880"/>
          </a:xfrm>
          <a:prstGeom prst="rect">
            <a:avLst/>
          </a:prstGeom>
          <a:solidFill>
            <a:schemeClr val="bg1">
              <a:lumMod val="95000"/>
            </a:schemeClr>
          </a:solidFill>
        </p:spPr>
        <p:txBody>
          <a:bodyPr wrap="square" lIns="91440" tIns="45720" rIns="91440" bIns="45720" rtlCol="0" anchor="ctr">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A sales analyst is searching Office.com for a customer pitch deck to give in an upcoming sales meeting</a:t>
            </a:r>
          </a:p>
        </p:txBody>
      </p:sp>
      <p:sp>
        <p:nvSpPr>
          <p:cNvPr id="59" name="Rectangle 58">
            <a:extLst>
              <a:ext uri="{FF2B5EF4-FFF2-40B4-BE49-F238E27FC236}">
                <a16:creationId xmlns:a16="http://schemas.microsoft.com/office/drawing/2014/main" id="{6054C90B-D25D-4262-8EF6-5B9BA22B9508}"/>
              </a:ext>
            </a:extLst>
          </p:cNvPr>
          <p:cNvSpPr/>
          <p:nvPr/>
        </p:nvSpPr>
        <p:spPr bwMode="auto">
          <a:xfrm>
            <a:off x="4423712" y="4154040"/>
            <a:ext cx="3017838" cy="6669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mn-ea"/>
              <a:cs typeface="Times New Roman" panose="02020603050405020304" pitchFamily="18" charset="0"/>
            </a:endParaRPr>
          </a:p>
        </p:txBody>
      </p:sp>
      <p:sp>
        <p:nvSpPr>
          <p:cNvPr id="60" name="TextBox 59">
            <a:extLst>
              <a:ext uri="{FF2B5EF4-FFF2-40B4-BE49-F238E27FC236}">
                <a16:creationId xmlns:a16="http://schemas.microsoft.com/office/drawing/2014/main" id="{825677EC-4F0B-41ED-9300-1BEC1E7A40D8}"/>
              </a:ext>
            </a:extLst>
          </p:cNvPr>
          <p:cNvSpPr txBox="1"/>
          <p:nvPr/>
        </p:nvSpPr>
        <p:spPr>
          <a:xfrm>
            <a:off x="4561818" y="4241309"/>
            <a:ext cx="2466111" cy="492443"/>
          </a:xfrm>
          <a:prstGeom prst="rect">
            <a:avLst/>
          </a:prstGeom>
          <a:noFill/>
        </p:spPr>
        <p:txBody>
          <a:bodyPr wrap="squar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Cross-M365 </a:t>
            </a:r>
          </a:p>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discovery</a:t>
            </a:r>
          </a:p>
        </p:txBody>
      </p:sp>
      <p:sp>
        <p:nvSpPr>
          <p:cNvPr id="62" name="Oval 61">
            <a:extLst>
              <a:ext uri="{FF2B5EF4-FFF2-40B4-BE49-F238E27FC236}">
                <a16:creationId xmlns:a16="http://schemas.microsoft.com/office/drawing/2014/main" id="{773C6807-CD07-4690-887E-7ACF46276D25}"/>
              </a:ext>
            </a:extLst>
          </p:cNvPr>
          <p:cNvSpPr/>
          <p:nvPr/>
        </p:nvSpPr>
        <p:spPr bwMode="auto">
          <a:xfrm rot="5400000">
            <a:off x="7102921" y="4154040"/>
            <a:ext cx="666981" cy="666981"/>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63" name="Oval 62">
            <a:extLst>
              <a:ext uri="{FF2B5EF4-FFF2-40B4-BE49-F238E27FC236}">
                <a16:creationId xmlns:a16="http://schemas.microsoft.com/office/drawing/2014/main" id="{9E343ECC-2323-4E0B-9DA8-B5A29954F72D}"/>
              </a:ext>
            </a:extLst>
          </p:cNvPr>
          <p:cNvSpPr/>
          <p:nvPr/>
        </p:nvSpPr>
        <p:spPr bwMode="auto">
          <a:xfrm rot="5400000">
            <a:off x="7162169" y="4213288"/>
            <a:ext cx="548485" cy="5484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73" name="Rectangle 72">
            <a:extLst>
              <a:ext uri="{FF2B5EF4-FFF2-40B4-BE49-F238E27FC236}">
                <a16:creationId xmlns:a16="http://schemas.microsoft.com/office/drawing/2014/main" id="{C7EC09E8-301E-4FB6-9763-9FD22A84E13A}"/>
              </a:ext>
            </a:extLst>
          </p:cNvPr>
          <p:cNvSpPr/>
          <p:nvPr/>
        </p:nvSpPr>
        <p:spPr bwMode="auto">
          <a:xfrm>
            <a:off x="8264005" y="4154040"/>
            <a:ext cx="3017838" cy="666981"/>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mn-ea"/>
              <a:cs typeface="Times New Roman" panose="02020603050405020304" pitchFamily="18" charset="0"/>
            </a:endParaRPr>
          </a:p>
        </p:txBody>
      </p:sp>
      <p:sp>
        <p:nvSpPr>
          <p:cNvPr id="77" name="TextBox 76">
            <a:extLst>
              <a:ext uri="{FF2B5EF4-FFF2-40B4-BE49-F238E27FC236}">
                <a16:creationId xmlns:a16="http://schemas.microsoft.com/office/drawing/2014/main" id="{D83CEEAA-F657-4CCE-8DF2-C343BBD287A0}"/>
              </a:ext>
            </a:extLst>
          </p:cNvPr>
          <p:cNvSpPr txBox="1"/>
          <p:nvPr/>
        </p:nvSpPr>
        <p:spPr>
          <a:xfrm>
            <a:off x="8402111" y="4241309"/>
            <a:ext cx="2466111" cy="492443"/>
          </a:xfrm>
          <a:prstGeom prst="rect">
            <a:avLst/>
          </a:prstGeom>
          <a:noFill/>
        </p:spPr>
        <p:txBody>
          <a:bodyPr wrap="squar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Crowdsource</a:t>
            </a:r>
            <a:br>
              <a:rPr kumimoji="0" lang="en-US" sz="1600" b="0" i="0" u="none" strike="noStrike" kern="1200" cap="none" spc="0" normalizeH="0" baseline="0" noProof="0">
                <a:ln>
                  <a:noFill/>
                </a:ln>
                <a:solidFill>
                  <a:schemeClr val="bg1"/>
                </a:solidFill>
                <a:effectLst/>
                <a:uLnTx/>
                <a:uFillTx/>
                <a:latin typeface="+mj-lt"/>
                <a:ea typeface="+mn-ea"/>
                <a:cs typeface="+mn-cs"/>
              </a:rPr>
            </a:br>
            <a:r>
              <a:rPr kumimoji="0" lang="en-US" sz="1600" b="0" i="0" u="none" strike="noStrike" kern="1200" cap="none" spc="0" normalizeH="0" baseline="0" noProof="0">
                <a:ln>
                  <a:noFill/>
                </a:ln>
                <a:solidFill>
                  <a:schemeClr val="bg1"/>
                </a:solidFill>
                <a:effectLst/>
                <a:uLnTx/>
                <a:uFillTx/>
                <a:latin typeface="+mj-lt"/>
                <a:ea typeface="+mn-ea"/>
                <a:cs typeface="+mn-cs"/>
              </a:rPr>
              <a:t>learning content</a:t>
            </a:r>
          </a:p>
        </p:txBody>
      </p:sp>
      <p:sp>
        <p:nvSpPr>
          <p:cNvPr id="88" name="Oval 87">
            <a:extLst>
              <a:ext uri="{FF2B5EF4-FFF2-40B4-BE49-F238E27FC236}">
                <a16:creationId xmlns:a16="http://schemas.microsoft.com/office/drawing/2014/main" id="{D327EEC5-C59A-4E38-90CD-837E6190E041}"/>
              </a:ext>
            </a:extLst>
          </p:cNvPr>
          <p:cNvSpPr/>
          <p:nvPr/>
        </p:nvSpPr>
        <p:spPr bwMode="auto">
          <a:xfrm rot="5400000">
            <a:off x="10943214" y="4154040"/>
            <a:ext cx="666981" cy="666981"/>
          </a:xfrm>
          <a:prstGeom prst="ellips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89" name="Oval 88">
            <a:extLst>
              <a:ext uri="{FF2B5EF4-FFF2-40B4-BE49-F238E27FC236}">
                <a16:creationId xmlns:a16="http://schemas.microsoft.com/office/drawing/2014/main" id="{28682D74-CCD1-4448-9521-EAE3EC63D214}"/>
              </a:ext>
            </a:extLst>
          </p:cNvPr>
          <p:cNvSpPr/>
          <p:nvPr/>
        </p:nvSpPr>
        <p:spPr bwMode="auto">
          <a:xfrm rot="5400000">
            <a:off x="11002462" y="4213288"/>
            <a:ext cx="548485" cy="5484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86" name="transform" title="Icon of a circle and a square with two curved lines making a cycle">
            <a:extLst>
              <a:ext uri="{FF2B5EF4-FFF2-40B4-BE49-F238E27FC236}">
                <a16:creationId xmlns:a16="http://schemas.microsoft.com/office/drawing/2014/main" id="{9A78B147-42D6-4FAA-B4F0-E0C3AE876360}"/>
              </a:ext>
            </a:extLst>
          </p:cNvPr>
          <p:cNvSpPr>
            <a:spLocks noChangeAspect="1" noEditPoints="1"/>
          </p:cNvSpPr>
          <p:nvPr/>
        </p:nvSpPr>
        <p:spPr bwMode="auto">
          <a:xfrm>
            <a:off x="7282614" y="4295284"/>
            <a:ext cx="307594" cy="384492"/>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9525" cap="sq">
            <a:solidFill>
              <a:srgbClr val="00857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87" name="Books" title="Icon of a stack of books">
            <a:extLst>
              <a:ext uri="{FF2B5EF4-FFF2-40B4-BE49-F238E27FC236}">
                <a16:creationId xmlns:a16="http://schemas.microsoft.com/office/drawing/2014/main" id="{4F50C34C-F85B-420B-9E84-B37FA155EEC9}"/>
              </a:ext>
            </a:extLst>
          </p:cNvPr>
          <p:cNvSpPr>
            <a:spLocks noChangeAspect="1" noEditPoints="1"/>
          </p:cNvSpPr>
          <p:nvPr/>
        </p:nvSpPr>
        <p:spPr bwMode="auto">
          <a:xfrm>
            <a:off x="11100655" y="4348526"/>
            <a:ext cx="352098" cy="278008"/>
          </a:xfrm>
          <a:custGeom>
            <a:avLst/>
            <a:gdLst>
              <a:gd name="T0" fmla="*/ 3195 w 3452"/>
              <a:gd name="T1" fmla="*/ 1671 h 2724"/>
              <a:gd name="T2" fmla="*/ 309 w 3452"/>
              <a:gd name="T3" fmla="*/ 1671 h 2724"/>
              <a:gd name="T4" fmla="*/ 0 w 3452"/>
              <a:gd name="T5" fmla="*/ 1362 h 2724"/>
              <a:gd name="T6" fmla="*/ 309 w 3452"/>
              <a:gd name="T7" fmla="*/ 1053 h 2724"/>
              <a:gd name="T8" fmla="*/ 3195 w 3452"/>
              <a:gd name="T9" fmla="*/ 1053 h 2724"/>
              <a:gd name="T10" fmla="*/ 3018 w 3452"/>
              <a:gd name="T11" fmla="*/ 1053 h 2724"/>
              <a:gd name="T12" fmla="*/ 2937 w 3452"/>
              <a:gd name="T13" fmla="*/ 1362 h 2724"/>
              <a:gd name="T14" fmla="*/ 3018 w 3452"/>
              <a:gd name="T15" fmla="*/ 1671 h 2724"/>
              <a:gd name="T16" fmla="*/ 3452 w 3452"/>
              <a:gd name="T17" fmla="*/ 0 h 2724"/>
              <a:gd name="T18" fmla="*/ 566 w 3452"/>
              <a:gd name="T19" fmla="*/ 0 h 2724"/>
              <a:gd name="T20" fmla="*/ 257 w 3452"/>
              <a:gd name="T21" fmla="*/ 309 h 2724"/>
              <a:gd name="T22" fmla="*/ 566 w 3452"/>
              <a:gd name="T23" fmla="*/ 618 h 2724"/>
              <a:gd name="T24" fmla="*/ 3452 w 3452"/>
              <a:gd name="T25" fmla="*/ 618 h 2724"/>
              <a:gd name="T26" fmla="*/ 3275 w 3452"/>
              <a:gd name="T27" fmla="*/ 0 h 2724"/>
              <a:gd name="T28" fmla="*/ 3195 w 3452"/>
              <a:gd name="T29" fmla="*/ 309 h 2724"/>
              <a:gd name="T30" fmla="*/ 3275 w 3452"/>
              <a:gd name="T31" fmla="*/ 618 h 2724"/>
              <a:gd name="T32" fmla="*/ 192 w 3452"/>
              <a:gd name="T33" fmla="*/ 2724 h 2724"/>
              <a:gd name="T34" fmla="*/ 3078 w 3452"/>
              <a:gd name="T35" fmla="*/ 2724 h 2724"/>
              <a:gd name="T36" fmla="*/ 3387 w 3452"/>
              <a:gd name="T37" fmla="*/ 2415 h 2724"/>
              <a:gd name="T38" fmla="*/ 3078 w 3452"/>
              <a:gd name="T39" fmla="*/ 2106 h 2724"/>
              <a:gd name="T40" fmla="*/ 192 w 3452"/>
              <a:gd name="T41" fmla="*/ 2106 h 2724"/>
              <a:gd name="T42" fmla="*/ 369 w 3452"/>
              <a:gd name="T43" fmla="*/ 2724 h 2724"/>
              <a:gd name="T44" fmla="*/ 450 w 3452"/>
              <a:gd name="T45" fmla="*/ 2415 h 2724"/>
              <a:gd name="T46" fmla="*/ 369 w 3452"/>
              <a:gd name="T47" fmla="*/ 2106 h 2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52" h="2724">
                <a:moveTo>
                  <a:pt x="3195" y="1671"/>
                </a:moveTo>
                <a:cubicBezTo>
                  <a:pt x="309" y="1671"/>
                  <a:pt x="309" y="1671"/>
                  <a:pt x="309" y="1671"/>
                </a:cubicBezTo>
                <a:cubicBezTo>
                  <a:pt x="138" y="1671"/>
                  <a:pt x="0" y="1533"/>
                  <a:pt x="0" y="1362"/>
                </a:cubicBezTo>
                <a:cubicBezTo>
                  <a:pt x="0" y="1191"/>
                  <a:pt x="138" y="1053"/>
                  <a:pt x="309" y="1053"/>
                </a:cubicBezTo>
                <a:cubicBezTo>
                  <a:pt x="3195" y="1053"/>
                  <a:pt x="3195" y="1053"/>
                  <a:pt x="3195" y="1053"/>
                </a:cubicBezTo>
                <a:moveTo>
                  <a:pt x="3018" y="1053"/>
                </a:moveTo>
                <a:cubicBezTo>
                  <a:pt x="2968" y="1126"/>
                  <a:pt x="2937" y="1237"/>
                  <a:pt x="2937" y="1362"/>
                </a:cubicBezTo>
                <a:cubicBezTo>
                  <a:pt x="2937" y="1486"/>
                  <a:pt x="2968" y="1598"/>
                  <a:pt x="3018" y="1671"/>
                </a:cubicBezTo>
                <a:moveTo>
                  <a:pt x="3452" y="0"/>
                </a:moveTo>
                <a:cubicBezTo>
                  <a:pt x="566" y="0"/>
                  <a:pt x="566" y="0"/>
                  <a:pt x="566" y="0"/>
                </a:cubicBezTo>
                <a:cubicBezTo>
                  <a:pt x="396" y="0"/>
                  <a:pt x="257" y="139"/>
                  <a:pt x="257" y="309"/>
                </a:cubicBezTo>
                <a:cubicBezTo>
                  <a:pt x="257" y="480"/>
                  <a:pt x="396" y="618"/>
                  <a:pt x="566" y="618"/>
                </a:cubicBezTo>
                <a:cubicBezTo>
                  <a:pt x="3452" y="618"/>
                  <a:pt x="3452" y="618"/>
                  <a:pt x="3452" y="618"/>
                </a:cubicBezTo>
                <a:moveTo>
                  <a:pt x="3275" y="0"/>
                </a:moveTo>
                <a:cubicBezTo>
                  <a:pt x="3226" y="74"/>
                  <a:pt x="3195" y="185"/>
                  <a:pt x="3195" y="309"/>
                </a:cubicBezTo>
                <a:cubicBezTo>
                  <a:pt x="3195" y="434"/>
                  <a:pt x="3226" y="545"/>
                  <a:pt x="3275" y="618"/>
                </a:cubicBezTo>
                <a:moveTo>
                  <a:pt x="192" y="2724"/>
                </a:moveTo>
                <a:cubicBezTo>
                  <a:pt x="3078" y="2724"/>
                  <a:pt x="3078" y="2724"/>
                  <a:pt x="3078" y="2724"/>
                </a:cubicBezTo>
                <a:cubicBezTo>
                  <a:pt x="3249" y="2724"/>
                  <a:pt x="3387" y="2585"/>
                  <a:pt x="3387" y="2415"/>
                </a:cubicBezTo>
                <a:cubicBezTo>
                  <a:pt x="3387" y="2244"/>
                  <a:pt x="3249" y="2106"/>
                  <a:pt x="3078" y="2106"/>
                </a:cubicBezTo>
                <a:cubicBezTo>
                  <a:pt x="192" y="2106"/>
                  <a:pt x="192" y="2106"/>
                  <a:pt x="192" y="2106"/>
                </a:cubicBezTo>
                <a:moveTo>
                  <a:pt x="369" y="2724"/>
                </a:moveTo>
                <a:cubicBezTo>
                  <a:pt x="418" y="2650"/>
                  <a:pt x="450" y="2539"/>
                  <a:pt x="450" y="2415"/>
                </a:cubicBezTo>
                <a:cubicBezTo>
                  <a:pt x="450" y="2290"/>
                  <a:pt x="418" y="2179"/>
                  <a:pt x="369" y="2106"/>
                </a:cubicBezTo>
              </a:path>
            </a:pathLst>
          </a:custGeom>
          <a:noFill/>
          <a:ln w="9525" cap="sq">
            <a:solidFill>
              <a:schemeClr val="accent3">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ctr"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TextBox 90">
            <a:extLst>
              <a:ext uri="{FF2B5EF4-FFF2-40B4-BE49-F238E27FC236}">
                <a16:creationId xmlns:a16="http://schemas.microsoft.com/office/drawing/2014/main" id="{AF50B6C7-A4A9-40E5-ADCF-6C4A93CFC801}"/>
              </a:ext>
            </a:extLst>
          </p:cNvPr>
          <p:cNvSpPr txBox="1"/>
          <p:nvPr/>
        </p:nvSpPr>
        <p:spPr>
          <a:xfrm>
            <a:off x="582612" y="4856171"/>
            <a:ext cx="3346190" cy="1535104"/>
          </a:xfrm>
          <a:prstGeom prst="rect">
            <a:avLst/>
          </a:prstGeom>
          <a:noFill/>
        </p:spPr>
        <p:txBody>
          <a:bodyPr wrap="square" lIns="91440" tIns="45720" rIns="91440" bIns="45720" rtlCol="0" anchor="t">
            <a:noAutofit/>
          </a:bodyPr>
          <a:lstStyle/>
          <a:p>
            <a:pPr marL="285750" indent="-285750">
              <a:spcAft>
                <a:spcPts val="400"/>
              </a:spcAft>
              <a:buFont typeface="Verdana" panose="020B0604030504040204" pitchFamily="34" charset="0"/>
              <a:buChar char="-"/>
              <a:defRPr/>
            </a:pPr>
            <a:r>
              <a:rPr lang="en-US" sz="1400"/>
              <a:t>Send a relevant course in a meeting or Teams chat </a:t>
            </a:r>
          </a:p>
          <a:p>
            <a:pPr marL="285750" indent="-285750">
              <a:spcAft>
                <a:spcPts val="400"/>
              </a:spcAft>
              <a:buFont typeface="Verdana" panose="020B0604030504040204" pitchFamily="34" charset="0"/>
              <a:buChar char="-"/>
              <a:defRPr/>
            </a:pPr>
            <a:r>
              <a:rPr lang="en-US" sz="1400"/>
              <a:t>Include pointers to relevant sections or add context in chat message</a:t>
            </a:r>
          </a:p>
          <a:p>
            <a:pPr marL="285750" indent="-285750">
              <a:spcAft>
                <a:spcPts val="400"/>
              </a:spcAft>
              <a:buFont typeface="Verdana" panose="020B0604030504040204" pitchFamily="34" charset="0"/>
              <a:buChar char="-"/>
              <a:defRPr/>
            </a:pPr>
            <a:r>
              <a:rPr lang="en-US" sz="1400"/>
              <a:t>Enable peer coaching or mentor relationships – formal or informal</a:t>
            </a:r>
          </a:p>
        </p:txBody>
      </p:sp>
      <p:sp>
        <p:nvSpPr>
          <p:cNvPr id="92" name="TextBox 91">
            <a:extLst>
              <a:ext uri="{FF2B5EF4-FFF2-40B4-BE49-F238E27FC236}">
                <a16:creationId xmlns:a16="http://schemas.microsoft.com/office/drawing/2014/main" id="{F0459D6C-A74C-4189-B74A-33DAD3EEF46E}"/>
              </a:ext>
            </a:extLst>
          </p:cNvPr>
          <p:cNvSpPr txBox="1"/>
          <p:nvPr/>
        </p:nvSpPr>
        <p:spPr>
          <a:xfrm>
            <a:off x="4423712" y="4856171"/>
            <a:ext cx="3346190" cy="1535104"/>
          </a:xfrm>
          <a:prstGeom prst="rect">
            <a:avLst/>
          </a:prstGeom>
          <a:noFill/>
        </p:spPr>
        <p:txBody>
          <a:bodyPr wrap="square" lIns="91440" tIns="45720" rIns="91440" bIns="45720" rtlCol="0" anchor="t">
            <a:noAutofit/>
          </a:bodyPr>
          <a:lstStyle/>
          <a:p>
            <a:pPr marL="285750" indent="-285750">
              <a:spcAft>
                <a:spcPts val="400"/>
              </a:spcAft>
              <a:buFont typeface="Verdana" panose="020B0604030504040204" pitchFamily="34" charset="0"/>
              <a:buChar char="-"/>
              <a:defRPr/>
            </a:pPr>
            <a:r>
              <a:rPr lang="en-US" sz="1400"/>
              <a:t>Surface Viva Learning content in Office.com, Microsoft Search, and SharePoint</a:t>
            </a:r>
          </a:p>
          <a:p>
            <a:pPr marL="285750" indent="-285750">
              <a:spcAft>
                <a:spcPts val="400"/>
              </a:spcAft>
              <a:buFont typeface="Verdana" panose="020B0604030504040204" pitchFamily="34" charset="0"/>
              <a:buChar char="-"/>
              <a:defRPr/>
            </a:pPr>
            <a:r>
              <a:rPr lang="en-US" sz="1400"/>
              <a:t>Bookmark relevant learning courses that appear in search results, such as “Effective sales pitch strategies” </a:t>
            </a:r>
          </a:p>
        </p:txBody>
      </p:sp>
      <p:sp>
        <p:nvSpPr>
          <p:cNvPr id="93" name="TextBox 92">
            <a:extLst>
              <a:ext uri="{FF2B5EF4-FFF2-40B4-BE49-F238E27FC236}">
                <a16:creationId xmlns:a16="http://schemas.microsoft.com/office/drawing/2014/main" id="{57501A4B-FF07-4278-A9C6-C4211B40723A}"/>
              </a:ext>
            </a:extLst>
          </p:cNvPr>
          <p:cNvSpPr txBox="1"/>
          <p:nvPr/>
        </p:nvSpPr>
        <p:spPr>
          <a:xfrm>
            <a:off x="8264005" y="4856171"/>
            <a:ext cx="3346190" cy="1535104"/>
          </a:xfrm>
          <a:prstGeom prst="rect">
            <a:avLst/>
          </a:prstGeom>
          <a:noFill/>
        </p:spPr>
        <p:txBody>
          <a:bodyPr wrap="square" lIns="91440" tIns="45720" rIns="91440" bIns="45720" rtlCol="0" anchor="t">
            <a:noAutofit/>
          </a:bodyPr>
          <a:lstStyle/>
          <a:p>
            <a:pPr marL="285750" indent="-285750">
              <a:spcAft>
                <a:spcPts val="400"/>
              </a:spcAft>
              <a:buFont typeface="Verdana" panose="020B0604030504040204" pitchFamily="34" charset="0"/>
              <a:buChar char="-"/>
              <a:defRPr/>
            </a:pPr>
            <a:r>
              <a:rPr lang="en-US" sz="1400"/>
              <a:t>Admins can create a collaborative SharePoint folder connected to Viva Learning for employees (or restricted audiences) to add content </a:t>
            </a:r>
          </a:p>
          <a:p>
            <a:pPr marL="285750" indent="-285750">
              <a:spcAft>
                <a:spcPts val="400"/>
              </a:spcAft>
              <a:buFont typeface="Verdana" panose="020B0604030504040204" pitchFamily="34" charset="0"/>
              <a:buChar char="-"/>
              <a:defRPr/>
            </a:pPr>
            <a:r>
              <a:rPr lang="en-US" sz="1400"/>
              <a:t>See added content in Viva Learning as learning content</a:t>
            </a:r>
          </a:p>
        </p:txBody>
      </p:sp>
      <p:pic>
        <p:nvPicPr>
          <p:cNvPr id="108" name="Picture 107" descr="A person using a tablet&#10;&#10;Description automatically generated with medium confidence">
            <a:extLst>
              <a:ext uri="{FF2B5EF4-FFF2-40B4-BE49-F238E27FC236}">
                <a16:creationId xmlns:a16="http://schemas.microsoft.com/office/drawing/2014/main" id="{1C3DD4B1-30CC-4281-883A-CB04F8DA78D9}"/>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l="4872" r="9856" b="37"/>
          <a:stretch/>
        </p:blipFill>
        <p:spPr>
          <a:xfrm>
            <a:off x="8264006" y="1343349"/>
            <a:ext cx="3346189" cy="1810594"/>
          </a:xfrm>
          <a:custGeom>
            <a:avLst/>
            <a:gdLst>
              <a:gd name="connsiteX0" fmla="*/ 0 w 3346189"/>
              <a:gd name="connsiteY0" fmla="*/ 0 h 1810594"/>
              <a:gd name="connsiteX1" fmla="*/ 3346189 w 3346189"/>
              <a:gd name="connsiteY1" fmla="*/ 0 h 1810594"/>
              <a:gd name="connsiteX2" fmla="*/ 3346189 w 3346189"/>
              <a:gd name="connsiteY2" fmla="*/ 1810594 h 1810594"/>
              <a:gd name="connsiteX3" fmla="*/ 0 w 3346189"/>
              <a:gd name="connsiteY3" fmla="*/ 1810594 h 1810594"/>
            </a:gdLst>
            <a:ahLst/>
            <a:cxnLst>
              <a:cxn ang="0">
                <a:pos x="connsiteX0" y="connsiteY0"/>
              </a:cxn>
              <a:cxn ang="0">
                <a:pos x="connsiteX1" y="connsiteY1"/>
              </a:cxn>
              <a:cxn ang="0">
                <a:pos x="connsiteX2" y="connsiteY2"/>
              </a:cxn>
              <a:cxn ang="0">
                <a:pos x="connsiteX3" y="connsiteY3"/>
              </a:cxn>
            </a:cxnLst>
            <a:rect l="l" t="t" r="r" b="b"/>
            <a:pathLst>
              <a:path w="3346189" h="1810594">
                <a:moveTo>
                  <a:pt x="0" y="0"/>
                </a:moveTo>
                <a:lnTo>
                  <a:pt x="3346189" y="0"/>
                </a:lnTo>
                <a:lnTo>
                  <a:pt x="3346189" y="1810594"/>
                </a:lnTo>
                <a:lnTo>
                  <a:pt x="0" y="1810594"/>
                </a:lnTo>
                <a:close/>
              </a:path>
            </a:pathLst>
          </a:custGeom>
        </p:spPr>
      </p:pic>
      <p:sp>
        <p:nvSpPr>
          <p:cNvPr id="57" name="TextBox 56">
            <a:extLst>
              <a:ext uri="{FF2B5EF4-FFF2-40B4-BE49-F238E27FC236}">
                <a16:creationId xmlns:a16="http://schemas.microsoft.com/office/drawing/2014/main" id="{84748465-4CC6-4BD7-8F4C-6F070C0453F5}"/>
              </a:ext>
            </a:extLst>
          </p:cNvPr>
          <p:cNvSpPr txBox="1"/>
          <p:nvPr/>
        </p:nvSpPr>
        <p:spPr>
          <a:xfrm>
            <a:off x="8264821" y="3151120"/>
            <a:ext cx="3346190" cy="912880"/>
          </a:xfrm>
          <a:prstGeom prst="rect">
            <a:avLst/>
          </a:prstGeom>
          <a:solidFill>
            <a:schemeClr val="bg1">
              <a:lumMod val="95000"/>
            </a:schemeClr>
          </a:solidFill>
        </p:spPr>
        <p:txBody>
          <a:bodyPr wrap="square" lIns="91440" tIns="45720" rIns="91440" bIns="45720" rtlCol="0" anchor="ctr">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An employee led a session on Diverse and Inclusive marketing and wants to make it available as a company training</a:t>
            </a:r>
          </a:p>
        </p:txBody>
      </p:sp>
    </p:spTree>
    <p:extLst>
      <p:ext uri="{BB962C8B-B14F-4D97-AF65-F5344CB8AC3E}">
        <p14:creationId xmlns:p14="http://schemas.microsoft.com/office/powerpoint/2010/main" val="23687410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8A9749B-FDFB-4B39-B21E-DBBF3D62890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6" imgW="425" imgH="424" progId="TCLayout.ActiveDocument.1">
                  <p:embed/>
                </p:oleObj>
              </mc:Choice>
              <mc:Fallback>
                <p:oleObj name="think-cell Slide" r:id="rId6" imgW="425" imgH="424" progId="TCLayout.ActiveDocument.1">
                  <p:embed/>
                  <p:pic>
                    <p:nvPicPr>
                      <p:cNvPr id="12" name="Object 11" hidden="1">
                        <a:extLst>
                          <a:ext uri="{FF2B5EF4-FFF2-40B4-BE49-F238E27FC236}">
                            <a16:creationId xmlns:a16="http://schemas.microsoft.com/office/drawing/2014/main" id="{B8A9749B-FDFB-4B39-B21E-DBBF3D62890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75DCE43-5473-4523-A107-CB2A3070238D}"/>
              </a:ext>
            </a:extLst>
          </p:cNvPr>
          <p:cNvSpPr/>
          <p:nvPr>
            <p:custDataLst>
              <p:tags r:id="rId3"/>
            </p:custDataLst>
          </p:nvPr>
        </p:nvSpPr>
        <p:spPr bwMode="auto">
          <a:xfrm>
            <a:off x="0" y="0"/>
            <a:ext cx="158750" cy="158750"/>
          </a:xfrm>
          <a:prstGeom prst="rect">
            <a:avLst/>
          </a:prstGeom>
          <a:noFill/>
          <a:ln>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3000" b="0" i="0" u="none" strike="noStrike" kern="1200" cap="none" spc="0" normalizeH="0" baseline="0" noProof="0">
              <a:ln>
                <a:noFill/>
              </a:ln>
              <a:solidFill>
                <a:srgbClr val="282828"/>
              </a:soli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7" name="Oval 26">
            <a:extLst>
              <a:ext uri="{FF2B5EF4-FFF2-40B4-BE49-F238E27FC236}">
                <a16:creationId xmlns:a16="http://schemas.microsoft.com/office/drawing/2014/main" id="{875B2E3A-C5CD-4321-B5B4-7A6930BE27E1}"/>
              </a:ext>
            </a:extLst>
          </p:cNvPr>
          <p:cNvSpPr/>
          <p:nvPr/>
        </p:nvSpPr>
        <p:spPr bwMode="auto">
          <a:xfrm>
            <a:off x="5643958" y="-605785"/>
            <a:ext cx="1142210" cy="114221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endParaRPr kumimoji="0" lang="en-US" sz="2400" b="1" i="0" u="none" strike="noStrike" kern="1200" cap="none" spc="0" normalizeH="0" baseline="0" noProof="0">
              <a:ln>
                <a:noFill/>
              </a:ln>
              <a:solidFill>
                <a:srgbClr val="FFFFFF"/>
              </a:solidFill>
              <a:effectLst/>
              <a:uLnTx/>
              <a:uFillTx/>
              <a:latin typeface="Segoe UI" panose="020B0502040204020203" pitchFamily="34" charset="0"/>
              <a:ea typeface="+mn-ea"/>
              <a:cs typeface="Times New Roman" panose="02020603050405020304" pitchFamily="18" charset="0"/>
            </a:endParaRPr>
          </a:p>
        </p:txBody>
      </p:sp>
      <p:sp>
        <p:nvSpPr>
          <p:cNvPr id="28" name="Oval 27">
            <a:extLst>
              <a:ext uri="{FF2B5EF4-FFF2-40B4-BE49-F238E27FC236}">
                <a16:creationId xmlns:a16="http://schemas.microsoft.com/office/drawing/2014/main" id="{51588A38-CDE3-445B-B395-64597D42D3E4}"/>
              </a:ext>
            </a:extLst>
          </p:cNvPr>
          <p:cNvSpPr/>
          <p:nvPr/>
        </p:nvSpPr>
        <p:spPr bwMode="auto">
          <a:xfrm>
            <a:off x="9482464" y="-605785"/>
            <a:ext cx="1142210" cy="1142210"/>
          </a:xfrm>
          <a:prstGeom prst="ellipse">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Title 3">
            <a:extLst>
              <a:ext uri="{FF2B5EF4-FFF2-40B4-BE49-F238E27FC236}">
                <a16:creationId xmlns:a16="http://schemas.microsoft.com/office/drawing/2014/main" id="{DF04831D-C6D0-4D50-A4B1-2E3BD487B3FF}"/>
              </a:ext>
            </a:extLst>
          </p:cNvPr>
          <p:cNvSpPr>
            <a:spLocks noGrp="1"/>
          </p:cNvSpPr>
          <p:nvPr>
            <p:ph type="title"/>
          </p:nvPr>
        </p:nvSpPr>
        <p:spPr/>
        <p:txBody>
          <a:bodyPr/>
          <a:lstStyle/>
          <a:p>
            <a:r>
              <a:rPr lang="en-US"/>
              <a:t>Target adoption scenario examples: Manager</a:t>
            </a:r>
          </a:p>
        </p:txBody>
      </p:sp>
      <p:pic>
        <p:nvPicPr>
          <p:cNvPr id="88" name="Picture 87" descr="A person giving a presentation&#10;&#10;Description automatically generated with medium confidence">
            <a:extLst>
              <a:ext uri="{FF2B5EF4-FFF2-40B4-BE49-F238E27FC236}">
                <a16:creationId xmlns:a16="http://schemas.microsoft.com/office/drawing/2014/main" id="{4AD367EB-AD22-4B80-AC5E-73541DD1B6FD}"/>
              </a:ext>
            </a:extLst>
          </p:cNvPr>
          <p:cNvPicPr>
            <a:picLocks/>
          </p:cNvPicPr>
          <p:nvPr/>
        </p:nvPicPr>
        <p:blipFill rotWithShape="1">
          <a:blip r:embed="rId8" cstate="hqprint">
            <a:extLst>
              <a:ext uri="{28A0092B-C50C-407E-A947-70E740481C1C}">
                <a14:useLocalDpi xmlns:a14="http://schemas.microsoft.com/office/drawing/2010/main" val="0"/>
              </a:ext>
            </a:extLst>
          </a:blip>
          <a:srcRect l="7511" t="612" r="6980" b="815"/>
          <a:stretch/>
        </p:blipFill>
        <p:spPr>
          <a:xfrm>
            <a:off x="4428556" y="1343349"/>
            <a:ext cx="3340539" cy="1811269"/>
          </a:xfrm>
          <a:custGeom>
            <a:avLst/>
            <a:gdLst>
              <a:gd name="connsiteX0" fmla="*/ 0 w 3340539"/>
              <a:gd name="connsiteY0" fmla="*/ 0 h 1811269"/>
              <a:gd name="connsiteX1" fmla="*/ 3340539 w 3340539"/>
              <a:gd name="connsiteY1" fmla="*/ 0 h 1811269"/>
              <a:gd name="connsiteX2" fmla="*/ 3340539 w 3340539"/>
              <a:gd name="connsiteY2" fmla="*/ 1811269 h 1811269"/>
              <a:gd name="connsiteX3" fmla="*/ 0 w 3340539"/>
              <a:gd name="connsiteY3" fmla="*/ 1811269 h 1811269"/>
            </a:gdLst>
            <a:ahLst/>
            <a:cxnLst>
              <a:cxn ang="0">
                <a:pos x="connsiteX0" y="connsiteY0"/>
              </a:cxn>
              <a:cxn ang="0">
                <a:pos x="connsiteX1" y="connsiteY1"/>
              </a:cxn>
              <a:cxn ang="0">
                <a:pos x="connsiteX2" y="connsiteY2"/>
              </a:cxn>
              <a:cxn ang="0">
                <a:pos x="connsiteX3" y="connsiteY3"/>
              </a:cxn>
            </a:cxnLst>
            <a:rect l="l" t="t" r="r" b="b"/>
            <a:pathLst>
              <a:path w="3340539" h="1811269">
                <a:moveTo>
                  <a:pt x="0" y="0"/>
                </a:moveTo>
                <a:lnTo>
                  <a:pt x="3340539" y="0"/>
                </a:lnTo>
                <a:lnTo>
                  <a:pt x="3340539" y="1811269"/>
                </a:lnTo>
                <a:lnTo>
                  <a:pt x="0" y="1811269"/>
                </a:lnTo>
                <a:close/>
              </a:path>
            </a:pathLst>
          </a:custGeom>
        </p:spPr>
      </p:pic>
      <p:pic>
        <p:nvPicPr>
          <p:cNvPr id="87" name="Picture 86" descr="Two people looking at a computer screen&#10;&#10;Description automatically generated with medium confidence">
            <a:extLst>
              <a:ext uri="{FF2B5EF4-FFF2-40B4-BE49-F238E27FC236}">
                <a16:creationId xmlns:a16="http://schemas.microsoft.com/office/drawing/2014/main" id="{8E9907F0-BE04-4147-BDFE-B9C5505048C6}"/>
              </a:ext>
            </a:extLst>
          </p:cNvPr>
          <p:cNvPicPr>
            <a:picLocks/>
          </p:cNvPicPr>
          <p:nvPr/>
        </p:nvPicPr>
        <p:blipFill rotWithShape="1">
          <a:blip r:embed="rId9" cstate="hqprint">
            <a:extLst>
              <a:ext uri="{28A0092B-C50C-407E-A947-70E740481C1C}">
                <a14:useLocalDpi xmlns:a14="http://schemas.microsoft.com/office/drawing/2010/main" val="0"/>
              </a:ext>
            </a:extLst>
          </a:blip>
          <a:srcRect l="7979" t="839" r="6703"/>
          <a:stretch/>
        </p:blipFill>
        <p:spPr>
          <a:xfrm>
            <a:off x="582612" y="1343349"/>
            <a:ext cx="3340539" cy="1811269"/>
          </a:xfrm>
          <a:custGeom>
            <a:avLst/>
            <a:gdLst>
              <a:gd name="connsiteX0" fmla="*/ 0 w 3340539"/>
              <a:gd name="connsiteY0" fmla="*/ 0 h 1795397"/>
              <a:gd name="connsiteX1" fmla="*/ 3340539 w 3340539"/>
              <a:gd name="connsiteY1" fmla="*/ 0 h 1795397"/>
              <a:gd name="connsiteX2" fmla="*/ 3340539 w 3340539"/>
              <a:gd name="connsiteY2" fmla="*/ 1795397 h 1795397"/>
              <a:gd name="connsiteX3" fmla="*/ 0 w 3340539"/>
              <a:gd name="connsiteY3" fmla="*/ 1795397 h 1795397"/>
            </a:gdLst>
            <a:ahLst/>
            <a:cxnLst>
              <a:cxn ang="0">
                <a:pos x="connsiteX0" y="connsiteY0"/>
              </a:cxn>
              <a:cxn ang="0">
                <a:pos x="connsiteX1" y="connsiteY1"/>
              </a:cxn>
              <a:cxn ang="0">
                <a:pos x="connsiteX2" y="connsiteY2"/>
              </a:cxn>
              <a:cxn ang="0">
                <a:pos x="connsiteX3" y="connsiteY3"/>
              </a:cxn>
            </a:cxnLst>
            <a:rect l="l" t="t" r="r" b="b"/>
            <a:pathLst>
              <a:path w="3340539" h="1795397">
                <a:moveTo>
                  <a:pt x="0" y="0"/>
                </a:moveTo>
                <a:lnTo>
                  <a:pt x="3340539" y="0"/>
                </a:lnTo>
                <a:lnTo>
                  <a:pt x="3340539" y="1795397"/>
                </a:lnTo>
                <a:lnTo>
                  <a:pt x="0" y="1795397"/>
                </a:lnTo>
                <a:close/>
              </a:path>
            </a:pathLst>
          </a:custGeom>
        </p:spPr>
      </p:pic>
      <p:sp>
        <p:nvSpPr>
          <p:cNvPr id="41" name="Rectangle 40">
            <a:extLst>
              <a:ext uri="{FF2B5EF4-FFF2-40B4-BE49-F238E27FC236}">
                <a16:creationId xmlns:a16="http://schemas.microsoft.com/office/drawing/2014/main" id="{6BF27EA8-6F59-412E-B6B2-77CAA68F0F92}"/>
              </a:ext>
            </a:extLst>
          </p:cNvPr>
          <p:cNvSpPr/>
          <p:nvPr/>
        </p:nvSpPr>
        <p:spPr bwMode="auto">
          <a:xfrm>
            <a:off x="582612" y="4154040"/>
            <a:ext cx="3017838" cy="666981"/>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chemeClr val="bg1"/>
              </a:solidFill>
              <a:effectLst/>
              <a:uLnTx/>
              <a:uFillTx/>
              <a:latin typeface="+mj-lt"/>
              <a:ea typeface="+mn-ea"/>
              <a:cs typeface="Times New Roman" panose="02020603050405020304" pitchFamily="18" charset="0"/>
            </a:endParaRPr>
          </a:p>
        </p:txBody>
      </p:sp>
      <p:sp>
        <p:nvSpPr>
          <p:cNvPr id="44" name="TextBox 43">
            <a:extLst>
              <a:ext uri="{FF2B5EF4-FFF2-40B4-BE49-F238E27FC236}">
                <a16:creationId xmlns:a16="http://schemas.microsoft.com/office/drawing/2014/main" id="{E5E915E2-E404-4D33-A3D8-5567E568D555}"/>
              </a:ext>
            </a:extLst>
          </p:cNvPr>
          <p:cNvSpPr txBox="1"/>
          <p:nvPr/>
        </p:nvSpPr>
        <p:spPr>
          <a:xfrm>
            <a:off x="720718" y="4364420"/>
            <a:ext cx="2466111" cy="246221"/>
          </a:xfrm>
          <a:prstGeom prst="rect">
            <a:avLst/>
          </a:prstGeom>
          <a:noFill/>
        </p:spPr>
        <p:txBody>
          <a:bodyPr wrap="squar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Onboarding</a:t>
            </a:r>
          </a:p>
        </p:txBody>
      </p:sp>
      <p:sp>
        <p:nvSpPr>
          <p:cNvPr id="47" name="Oval 46">
            <a:extLst>
              <a:ext uri="{FF2B5EF4-FFF2-40B4-BE49-F238E27FC236}">
                <a16:creationId xmlns:a16="http://schemas.microsoft.com/office/drawing/2014/main" id="{A806BC81-4EA6-4997-9A4C-DE1123767CDC}"/>
              </a:ext>
            </a:extLst>
          </p:cNvPr>
          <p:cNvSpPr/>
          <p:nvPr/>
        </p:nvSpPr>
        <p:spPr bwMode="auto">
          <a:xfrm rot="5400000">
            <a:off x="3261821" y="4154040"/>
            <a:ext cx="666981" cy="666981"/>
          </a:xfrm>
          <a:prstGeom prst="ellips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48" name="Oval 47">
            <a:extLst>
              <a:ext uri="{FF2B5EF4-FFF2-40B4-BE49-F238E27FC236}">
                <a16:creationId xmlns:a16="http://schemas.microsoft.com/office/drawing/2014/main" id="{D7352712-D3FD-4E9A-8B6A-CDC0249F65D0}"/>
              </a:ext>
            </a:extLst>
          </p:cNvPr>
          <p:cNvSpPr/>
          <p:nvPr/>
        </p:nvSpPr>
        <p:spPr bwMode="auto">
          <a:xfrm rot="5400000">
            <a:off x="3321069" y="4213288"/>
            <a:ext cx="548485" cy="5484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6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50" name="Arrow: Bent 49">
            <a:extLst>
              <a:ext uri="{FF2B5EF4-FFF2-40B4-BE49-F238E27FC236}">
                <a16:creationId xmlns:a16="http://schemas.microsoft.com/office/drawing/2014/main" id="{5D6CA14B-FCC3-42C7-9705-9719BF308D89}"/>
              </a:ext>
            </a:extLst>
          </p:cNvPr>
          <p:cNvSpPr/>
          <p:nvPr/>
        </p:nvSpPr>
        <p:spPr bwMode="auto">
          <a:xfrm rot="16200000">
            <a:off x="-355254" y="2310270"/>
            <a:ext cx="5217889" cy="3340541"/>
          </a:xfrm>
          <a:prstGeom prst="bentArrow">
            <a:avLst>
              <a:gd name="adj1" fmla="val 25000"/>
              <a:gd name="adj2" fmla="val 0"/>
              <a:gd name="adj3" fmla="val 25000"/>
              <a:gd name="adj4" fmla="val 340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2" name="Arrow: Bent 51">
            <a:extLst>
              <a:ext uri="{FF2B5EF4-FFF2-40B4-BE49-F238E27FC236}">
                <a16:creationId xmlns:a16="http://schemas.microsoft.com/office/drawing/2014/main" id="{C18F1CFF-0861-485B-A166-CC9A2E12F5A8}"/>
              </a:ext>
            </a:extLst>
          </p:cNvPr>
          <p:cNvSpPr/>
          <p:nvPr/>
        </p:nvSpPr>
        <p:spPr bwMode="auto">
          <a:xfrm rot="16200000">
            <a:off x="3485039" y="2310270"/>
            <a:ext cx="5217889" cy="3340541"/>
          </a:xfrm>
          <a:prstGeom prst="bentArrow">
            <a:avLst>
              <a:gd name="adj1" fmla="val 25000"/>
              <a:gd name="adj2" fmla="val 0"/>
              <a:gd name="adj3" fmla="val 25000"/>
              <a:gd name="adj4" fmla="val 340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3" name="Arrow: Bent 52">
            <a:extLst>
              <a:ext uri="{FF2B5EF4-FFF2-40B4-BE49-F238E27FC236}">
                <a16:creationId xmlns:a16="http://schemas.microsoft.com/office/drawing/2014/main" id="{FE404510-89EB-42FC-AB53-2D42A7411370}"/>
              </a:ext>
            </a:extLst>
          </p:cNvPr>
          <p:cNvSpPr/>
          <p:nvPr/>
        </p:nvSpPr>
        <p:spPr bwMode="auto">
          <a:xfrm rot="16200000">
            <a:off x="7325332" y="2310270"/>
            <a:ext cx="5217889" cy="3340541"/>
          </a:xfrm>
          <a:prstGeom prst="bentArrow">
            <a:avLst>
              <a:gd name="adj1" fmla="val 25000"/>
              <a:gd name="adj2" fmla="val 0"/>
              <a:gd name="adj3" fmla="val 25000"/>
              <a:gd name="adj4" fmla="val 340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4" name="Oval 53">
            <a:extLst>
              <a:ext uri="{FF2B5EF4-FFF2-40B4-BE49-F238E27FC236}">
                <a16:creationId xmlns:a16="http://schemas.microsoft.com/office/drawing/2014/main" id="{579060F7-1D9C-4145-9BE3-F883FB60DCB5}"/>
              </a:ext>
            </a:extLst>
          </p:cNvPr>
          <p:cNvSpPr/>
          <p:nvPr/>
        </p:nvSpPr>
        <p:spPr bwMode="auto">
          <a:xfrm>
            <a:off x="3923961" y="6567810"/>
            <a:ext cx="50345" cy="50345"/>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5" name="Oval 54">
            <a:extLst>
              <a:ext uri="{FF2B5EF4-FFF2-40B4-BE49-F238E27FC236}">
                <a16:creationId xmlns:a16="http://schemas.microsoft.com/office/drawing/2014/main" id="{5198C1F1-16D4-4913-A839-18D67810C035}"/>
              </a:ext>
            </a:extLst>
          </p:cNvPr>
          <p:cNvSpPr/>
          <p:nvPr/>
        </p:nvSpPr>
        <p:spPr bwMode="auto">
          <a:xfrm>
            <a:off x="7741502" y="6567810"/>
            <a:ext cx="50345" cy="50345"/>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6" name="Oval 55">
            <a:extLst>
              <a:ext uri="{FF2B5EF4-FFF2-40B4-BE49-F238E27FC236}">
                <a16:creationId xmlns:a16="http://schemas.microsoft.com/office/drawing/2014/main" id="{972A3817-6AA1-4301-B854-F679297DFA4E}"/>
              </a:ext>
            </a:extLst>
          </p:cNvPr>
          <p:cNvSpPr/>
          <p:nvPr/>
        </p:nvSpPr>
        <p:spPr bwMode="auto">
          <a:xfrm>
            <a:off x="11579374" y="6567810"/>
            <a:ext cx="50345" cy="50345"/>
          </a:xfrm>
          <a:prstGeom prst="ellips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7" name="TextBox 56">
            <a:extLst>
              <a:ext uri="{FF2B5EF4-FFF2-40B4-BE49-F238E27FC236}">
                <a16:creationId xmlns:a16="http://schemas.microsoft.com/office/drawing/2014/main" id="{447E701D-BE2F-4B92-876E-5B5BEDAA5F4C}"/>
              </a:ext>
            </a:extLst>
          </p:cNvPr>
          <p:cNvSpPr txBox="1"/>
          <p:nvPr/>
        </p:nvSpPr>
        <p:spPr>
          <a:xfrm>
            <a:off x="582612" y="3151120"/>
            <a:ext cx="3346190" cy="912880"/>
          </a:xfrm>
          <a:prstGeom prst="rect">
            <a:avLst/>
          </a:prstGeom>
          <a:solidFill>
            <a:schemeClr val="bg1">
              <a:lumMod val="95000"/>
            </a:schemeClr>
          </a:solidFill>
        </p:spPr>
        <p:txBody>
          <a:bodyPr wrap="square" lIns="91440" tIns="45720" rIns="91440" bIns="45720" rtlCol="0" anchor="ctr">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A new team member will be joining </a:t>
            </a:r>
          </a:p>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next week</a:t>
            </a:r>
          </a:p>
        </p:txBody>
      </p:sp>
      <p:sp>
        <p:nvSpPr>
          <p:cNvPr id="58" name="TextBox 57">
            <a:extLst>
              <a:ext uri="{FF2B5EF4-FFF2-40B4-BE49-F238E27FC236}">
                <a16:creationId xmlns:a16="http://schemas.microsoft.com/office/drawing/2014/main" id="{037BF6D1-9909-4B20-9010-4ADB9428E809}"/>
              </a:ext>
            </a:extLst>
          </p:cNvPr>
          <p:cNvSpPr txBox="1"/>
          <p:nvPr/>
        </p:nvSpPr>
        <p:spPr>
          <a:xfrm>
            <a:off x="4423712" y="3151120"/>
            <a:ext cx="3346190" cy="912880"/>
          </a:xfrm>
          <a:prstGeom prst="rect">
            <a:avLst/>
          </a:prstGeom>
          <a:solidFill>
            <a:schemeClr val="bg1">
              <a:lumMod val="95000"/>
            </a:schemeClr>
          </a:solidFill>
        </p:spPr>
        <p:txBody>
          <a:bodyPr wrap="square" lIns="91440" tIns="45720" rIns="91440" bIns="45720" rtlCol="0" anchor="ctr">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A manager wants to foster a culture </a:t>
            </a:r>
          </a:p>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of learning and growth</a:t>
            </a:r>
          </a:p>
        </p:txBody>
      </p:sp>
      <p:sp>
        <p:nvSpPr>
          <p:cNvPr id="59" name="TextBox 58">
            <a:extLst>
              <a:ext uri="{FF2B5EF4-FFF2-40B4-BE49-F238E27FC236}">
                <a16:creationId xmlns:a16="http://schemas.microsoft.com/office/drawing/2014/main" id="{CB4CB16D-9106-4B01-912B-B48ED3CCD744}"/>
              </a:ext>
            </a:extLst>
          </p:cNvPr>
          <p:cNvSpPr txBox="1"/>
          <p:nvPr/>
        </p:nvSpPr>
        <p:spPr>
          <a:xfrm>
            <a:off x="8264005" y="3151120"/>
            <a:ext cx="3346190" cy="912880"/>
          </a:xfrm>
          <a:prstGeom prst="rect">
            <a:avLst/>
          </a:prstGeom>
          <a:solidFill>
            <a:schemeClr val="bg1">
              <a:lumMod val="95000"/>
            </a:schemeClr>
          </a:solidFill>
        </p:spPr>
        <p:txBody>
          <a:bodyPr wrap="square" lIns="91440" tIns="45720" rIns="91440" bIns="45720" rtlCol="0" anchor="ctr">
            <a:noAutofit/>
          </a:bodyPr>
          <a:lstStyle/>
          <a:p>
            <a:pPr marL="0" marR="0" lvl="0" indent="0" algn="l" defTabSz="914400" rtl="0" eaLnBrk="1" fontAlgn="auto" latinLnBrk="0" hangingPunct="1">
              <a:spcBef>
                <a:spcPts val="0"/>
              </a:spcBef>
              <a:spcAft>
                <a:spcPts val="0"/>
              </a:spcAft>
              <a:buClrTx/>
              <a:buSzTx/>
              <a:buFontTx/>
              <a:buNone/>
              <a:tabLst/>
              <a:defRPr/>
            </a:pPr>
            <a:r>
              <a:rPr kumimoji="0" lang="en-US" sz="1400" b="0" i="0" u="none" strike="noStrike" kern="1200" cap="none" spc="0" normalizeH="0" baseline="0" noProof="0">
                <a:ln>
                  <a:noFill/>
                </a:ln>
                <a:effectLst/>
                <a:uLnTx/>
                <a:uFillTx/>
                <a:ea typeface="+mn-ea"/>
                <a:cs typeface="+mn-cs"/>
              </a:rPr>
              <a:t>At a leadership meeting, the VP emphasizes the importance of web presence for the company’s brands</a:t>
            </a:r>
          </a:p>
        </p:txBody>
      </p:sp>
      <p:sp>
        <p:nvSpPr>
          <p:cNvPr id="60" name="Rectangle 59">
            <a:extLst>
              <a:ext uri="{FF2B5EF4-FFF2-40B4-BE49-F238E27FC236}">
                <a16:creationId xmlns:a16="http://schemas.microsoft.com/office/drawing/2014/main" id="{CF4F9867-0D21-490C-A64A-FE7B106CC2F2}"/>
              </a:ext>
            </a:extLst>
          </p:cNvPr>
          <p:cNvSpPr/>
          <p:nvPr/>
        </p:nvSpPr>
        <p:spPr bwMode="auto">
          <a:xfrm>
            <a:off x="4423712" y="4154040"/>
            <a:ext cx="3017838" cy="66698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mn-ea"/>
              <a:cs typeface="Times New Roman" panose="02020603050405020304" pitchFamily="18" charset="0"/>
            </a:endParaRPr>
          </a:p>
        </p:txBody>
      </p:sp>
      <p:sp>
        <p:nvSpPr>
          <p:cNvPr id="61" name="TextBox 60">
            <a:extLst>
              <a:ext uri="{FF2B5EF4-FFF2-40B4-BE49-F238E27FC236}">
                <a16:creationId xmlns:a16="http://schemas.microsoft.com/office/drawing/2014/main" id="{4DFE9B88-CECF-4685-BF4A-AE92CECB10A2}"/>
              </a:ext>
            </a:extLst>
          </p:cNvPr>
          <p:cNvSpPr txBox="1"/>
          <p:nvPr/>
        </p:nvSpPr>
        <p:spPr>
          <a:xfrm>
            <a:off x="4561818" y="4364420"/>
            <a:ext cx="2466111" cy="246221"/>
          </a:xfrm>
          <a:prstGeom prst="rect">
            <a:avLst/>
          </a:prstGeom>
          <a:noFill/>
        </p:spPr>
        <p:txBody>
          <a:bodyPr wrap="squar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Track progress</a:t>
            </a:r>
          </a:p>
        </p:txBody>
      </p:sp>
      <p:sp>
        <p:nvSpPr>
          <p:cNvPr id="62" name="Oval 61">
            <a:extLst>
              <a:ext uri="{FF2B5EF4-FFF2-40B4-BE49-F238E27FC236}">
                <a16:creationId xmlns:a16="http://schemas.microsoft.com/office/drawing/2014/main" id="{6413399F-9896-4B86-A01B-E285DD4C85BE}"/>
              </a:ext>
            </a:extLst>
          </p:cNvPr>
          <p:cNvSpPr/>
          <p:nvPr/>
        </p:nvSpPr>
        <p:spPr bwMode="auto">
          <a:xfrm rot="5400000">
            <a:off x="7102921" y="4154040"/>
            <a:ext cx="666981" cy="666981"/>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63" name="Oval 62">
            <a:extLst>
              <a:ext uri="{FF2B5EF4-FFF2-40B4-BE49-F238E27FC236}">
                <a16:creationId xmlns:a16="http://schemas.microsoft.com/office/drawing/2014/main" id="{A0B7D790-6207-44BD-A55C-0B4456D93AA1}"/>
              </a:ext>
            </a:extLst>
          </p:cNvPr>
          <p:cNvSpPr/>
          <p:nvPr/>
        </p:nvSpPr>
        <p:spPr bwMode="auto">
          <a:xfrm rot="5400000">
            <a:off x="7162169" y="4213288"/>
            <a:ext cx="548485" cy="5484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64" name="Rectangle 63">
            <a:extLst>
              <a:ext uri="{FF2B5EF4-FFF2-40B4-BE49-F238E27FC236}">
                <a16:creationId xmlns:a16="http://schemas.microsoft.com/office/drawing/2014/main" id="{DF1B3E70-CE7D-47DC-94CE-359C5F0245F9}"/>
              </a:ext>
            </a:extLst>
          </p:cNvPr>
          <p:cNvSpPr/>
          <p:nvPr/>
        </p:nvSpPr>
        <p:spPr bwMode="auto">
          <a:xfrm>
            <a:off x="8264005" y="4154040"/>
            <a:ext cx="3017838" cy="666981"/>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mn-ea"/>
              <a:cs typeface="Times New Roman" panose="02020603050405020304" pitchFamily="18" charset="0"/>
            </a:endParaRPr>
          </a:p>
        </p:txBody>
      </p:sp>
      <p:sp>
        <p:nvSpPr>
          <p:cNvPr id="67" name="TextBox 66">
            <a:extLst>
              <a:ext uri="{FF2B5EF4-FFF2-40B4-BE49-F238E27FC236}">
                <a16:creationId xmlns:a16="http://schemas.microsoft.com/office/drawing/2014/main" id="{17D61243-9085-4A4F-A883-EB493F7868FB}"/>
              </a:ext>
            </a:extLst>
          </p:cNvPr>
          <p:cNvSpPr txBox="1"/>
          <p:nvPr/>
        </p:nvSpPr>
        <p:spPr>
          <a:xfrm>
            <a:off x="8402111" y="4364420"/>
            <a:ext cx="2466111" cy="246221"/>
          </a:xfrm>
          <a:prstGeom prst="rect">
            <a:avLst/>
          </a:prstGeom>
          <a:noFill/>
        </p:spPr>
        <p:txBody>
          <a:bodyPr wrap="square" lIns="0" tIns="0" rIns="0" bIns="0"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600" b="0" i="0" u="none" strike="noStrike" kern="1200" cap="none" spc="0" normalizeH="0" baseline="0" noProof="0">
                <a:ln>
                  <a:noFill/>
                </a:ln>
                <a:solidFill>
                  <a:schemeClr val="bg1"/>
                </a:solidFill>
                <a:effectLst/>
                <a:uLnTx/>
                <a:uFillTx/>
                <a:latin typeface="+mj-lt"/>
                <a:ea typeface="+mn-ea"/>
                <a:cs typeface="+mn-cs"/>
              </a:rPr>
              <a:t>Search and recommend</a:t>
            </a:r>
          </a:p>
        </p:txBody>
      </p:sp>
      <p:sp>
        <p:nvSpPr>
          <p:cNvPr id="68" name="Oval 67">
            <a:extLst>
              <a:ext uri="{FF2B5EF4-FFF2-40B4-BE49-F238E27FC236}">
                <a16:creationId xmlns:a16="http://schemas.microsoft.com/office/drawing/2014/main" id="{FECAD0DB-AB1E-4D0F-8A30-E12A1F144DF0}"/>
              </a:ext>
            </a:extLst>
          </p:cNvPr>
          <p:cNvSpPr/>
          <p:nvPr/>
        </p:nvSpPr>
        <p:spPr bwMode="auto">
          <a:xfrm rot="5400000">
            <a:off x="10943214" y="4154040"/>
            <a:ext cx="666981" cy="666981"/>
          </a:xfrm>
          <a:prstGeom prst="ellipse">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69" name="Oval 68">
            <a:extLst>
              <a:ext uri="{FF2B5EF4-FFF2-40B4-BE49-F238E27FC236}">
                <a16:creationId xmlns:a16="http://schemas.microsoft.com/office/drawing/2014/main" id="{6D8A0436-74C9-4613-B394-D28368B8BD06}"/>
              </a:ext>
            </a:extLst>
          </p:cNvPr>
          <p:cNvSpPr/>
          <p:nvPr/>
        </p:nvSpPr>
        <p:spPr bwMode="auto">
          <a:xfrm rot="5400000">
            <a:off x="11002462" y="4213288"/>
            <a:ext cx="548485" cy="5484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285750" marR="0" lvl="0" indent="-285750" algn="l" defTabSz="914400" rtl="0" eaLnBrk="1" fontAlgn="auto" latinLnBrk="0" hangingPunct="1">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a:ea typeface="Times New Roman" panose="02020603050405020304" pitchFamily="18" charset="0"/>
              <a:cs typeface="Times New Roman" panose="02020603050405020304" pitchFamily="18" charset="0"/>
            </a:endParaRPr>
          </a:p>
        </p:txBody>
      </p:sp>
      <p:sp>
        <p:nvSpPr>
          <p:cNvPr id="81" name="TextBox 80">
            <a:extLst>
              <a:ext uri="{FF2B5EF4-FFF2-40B4-BE49-F238E27FC236}">
                <a16:creationId xmlns:a16="http://schemas.microsoft.com/office/drawing/2014/main" id="{4D710D56-B72C-4EEE-BF84-19CC4AAD6026}"/>
              </a:ext>
            </a:extLst>
          </p:cNvPr>
          <p:cNvSpPr txBox="1"/>
          <p:nvPr/>
        </p:nvSpPr>
        <p:spPr>
          <a:xfrm>
            <a:off x="582612" y="4856171"/>
            <a:ext cx="3482976" cy="1535104"/>
          </a:xfrm>
          <a:prstGeom prst="rect">
            <a:avLst/>
          </a:prstGeom>
          <a:noFill/>
        </p:spPr>
        <p:txBody>
          <a:bodyPr wrap="square" lIns="91440" tIns="45720" rIns="91440" bIns="45720" rtlCol="0" anchor="t">
            <a:noAutofit/>
          </a:bodyPr>
          <a:lstStyle/>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Add a learning tab to your Teams channel for onboarding</a:t>
            </a:r>
          </a:p>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Add relevant courses and organization-specific content to</a:t>
            </a:r>
            <a:br>
              <a:rPr kumimoji="0" lang="en-US" sz="1400" b="0" i="0" u="none" strike="noStrike" kern="1200" cap="none" spc="0" normalizeH="0" baseline="0" noProof="0">
                <a:ln>
                  <a:noFill/>
                </a:ln>
                <a:effectLst/>
                <a:uLnTx/>
                <a:uFillTx/>
                <a:ea typeface="+mn-ea"/>
                <a:cs typeface="+mn-cs"/>
              </a:rPr>
            </a:br>
            <a:r>
              <a:rPr kumimoji="0" lang="en-US" sz="1400" b="0" i="0" u="none" strike="noStrike" kern="1200" cap="none" spc="0" normalizeH="0" baseline="0" noProof="0">
                <a:ln>
                  <a:noFill/>
                </a:ln>
                <a:effectLst/>
                <a:uLnTx/>
                <a:uFillTx/>
                <a:ea typeface="+mn-ea"/>
                <a:cs typeface="+mn-cs"/>
              </a:rPr>
              <a:t>the tab </a:t>
            </a:r>
          </a:p>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Curate for your team and priorities</a:t>
            </a:r>
          </a:p>
        </p:txBody>
      </p:sp>
      <p:sp>
        <p:nvSpPr>
          <p:cNvPr id="85" name="TextBox 84">
            <a:extLst>
              <a:ext uri="{FF2B5EF4-FFF2-40B4-BE49-F238E27FC236}">
                <a16:creationId xmlns:a16="http://schemas.microsoft.com/office/drawing/2014/main" id="{F961A10F-CDEE-46F4-B03A-0B2141965000}"/>
              </a:ext>
            </a:extLst>
          </p:cNvPr>
          <p:cNvSpPr txBox="1"/>
          <p:nvPr/>
        </p:nvSpPr>
        <p:spPr>
          <a:xfrm>
            <a:off x="4423712" y="4856171"/>
            <a:ext cx="3346190" cy="1535104"/>
          </a:xfrm>
          <a:prstGeom prst="rect">
            <a:avLst/>
          </a:prstGeom>
          <a:noFill/>
        </p:spPr>
        <p:txBody>
          <a:bodyPr wrap="square" lIns="91440" tIns="45720" rIns="91440" bIns="45720" rtlCol="0" anchor="t">
            <a:noAutofit/>
          </a:bodyPr>
          <a:lstStyle/>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Check the status of recommended content in the Manage tab</a:t>
            </a:r>
          </a:p>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Give kudos to colleagues who prioritize learning </a:t>
            </a:r>
          </a:p>
        </p:txBody>
      </p:sp>
      <p:sp>
        <p:nvSpPr>
          <p:cNvPr id="86" name="TextBox 85">
            <a:extLst>
              <a:ext uri="{FF2B5EF4-FFF2-40B4-BE49-F238E27FC236}">
                <a16:creationId xmlns:a16="http://schemas.microsoft.com/office/drawing/2014/main" id="{FC5F99FD-EFAD-4B1C-9D70-E93A1276005E}"/>
              </a:ext>
            </a:extLst>
          </p:cNvPr>
          <p:cNvSpPr txBox="1"/>
          <p:nvPr/>
        </p:nvSpPr>
        <p:spPr>
          <a:xfrm>
            <a:off x="8264005" y="4856171"/>
            <a:ext cx="3346190" cy="1535104"/>
          </a:xfrm>
          <a:prstGeom prst="rect">
            <a:avLst/>
          </a:prstGeom>
          <a:noFill/>
        </p:spPr>
        <p:txBody>
          <a:bodyPr wrap="square" lIns="91440" tIns="45720" rIns="91440" bIns="45720" rtlCol="0" anchor="t">
            <a:noAutofit/>
          </a:bodyPr>
          <a:lstStyle/>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Search for keywords in the Viva Learning home page or a channel learning tab</a:t>
            </a:r>
          </a:p>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See search results from Microsoft, </a:t>
            </a:r>
            <a:r>
              <a:rPr lang="en-US" sz="1400"/>
              <a:t>3P </a:t>
            </a:r>
            <a:r>
              <a:rPr kumimoji="0" lang="en-US" sz="1400" b="0" i="0" u="none" strike="noStrike" kern="1200" cap="none" spc="0" normalizeH="0" baseline="0" noProof="0">
                <a:ln>
                  <a:noFill/>
                </a:ln>
                <a:effectLst/>
                <a:uLnTx/>
                <a:uFillTx/>
                <a:ea typeface="+mn-ea"/>
                <a:cs typeface="+mn-cs"/>
              </a:rPr>
              <a:t>providers, and internal sources</a:t>
            </a:r>
          </a:p>
          <a:p>
            <a:pPr marL="285750" marR="0" lvl="0" indent="-285750" algn="l" defTabSz="914400" rtl="0" eaLnBrk="1" fontAlgn="auto" latinLnBrk="0" hangingPunct="1">
              <a:spcBef>
                <a:spcPts val="0"/>
              </a:spcBef>
              <a:spcAft>
                <a:spcPts val="400"/>
              </a:spcAft>
              <a:buClrTx/>
              <a:buSzTx/>
              <a:buFont typeface="Verdana" panose="020B0604030504040204" pitchFamily="34" charset="0"/>
              <a:buChar char="-"/>
              <a:tabLst/>
              <a:defRPr/>
            </a:pPr>
            <a:r>
              <a:rPr kumimoji="0" lang="en-US" sz="1400" b="0" i="0" u="none" strike="noStrike" kern="1200" cap="none" spc="0" normalizeH="0" baseline="0" noProof="0">
                <a:ln>
                  <a:noFill/>
                </a:ln>
                <a:effectLst/>
                <a:uLnTx/>
                <a:uFillTx/>
                <a:ea typeface="+mn-ea"/>
                <a:cs typeface="+mn-cs"/>
              </a:rPr>
              <a:t>Bookmark interesting courses and recommend courses to peers</a:t>
            </a:r>
          </a:p>
        </p:txBody>
      </p:sp>
      <p:sp>
        <p:nvSpPr>
          <p:cNvPr id="92" name="zoom" title="Icon of a magnifying glass with a plus sign in it">
            <a:extLst>
              <a:ext uri="{FF2B5EF4-FFF2-40B4-BE49-F238E27FC236}">
                <a16:creationId xmlns:a16="http://schemas.microsoft.com/office/drawing/2014/main" id="{E5700FF0-56F5-45F3-9AA5-612675514F75}"/>
              </a:ext>
            </a:extLst>
          </p:cNvPr>
          <p:cNvSpPr>
            <a:spLocks noChangeAspect="1" noEditPoints="1"/>
          </p:cNvSpPr>
          <p:nvPr/>
        </p:nvSpPr>
        <p:spPr bwMode="auto">
          <a:xfrm flipH="1">
            <a:off x="11118581" y="4331319"/>
            <a:ext cx="316246" cy="312422"/>
          </a:xfrm>
          <a:custGeom>
            <a:avLst/>
            <a:gdLst>
              <a:gd name="T0" fmla="*/ 120 w 343"/>
              <a:gd name="T1" fmla="*/ 111 h 338"/>
              <a:gd name="T2" fmla="*/ 231 w 343"/>
              <a:gd name="T3" fmla="*/ 0 h 338"/>
              <a:gd name="T4" fmla="*/ 343 w 343"/>
              <a:gd name="T5" fmla="*/ 111 h 338"/>
              <a:gd name="T6" fmla="*/ 231 w 343"/>
              <a:gd name="T7" fmla="*/ 223 h 338"/>
              <a:gd name="T8" fmla="*/ 120 w 343"/>
              <a:gd name="T9" fmla="*/ 111 h 338"/>
              <a:gd name="T10" fmla="*/ 152 w 343"/>
              <a:gd name="T11" fmla="*/ 189 h 338"/>
              <a:gd name="T12" fmla="*/ 0 w 343"/>
              <a:gd name="T13" fmla="*/ 338 h 338"/>
              <a:gd name="T14" fmla="*/ 231 w 343"/>
              <a:gd name="T15" fmla="*/ 64 h 338"/>
              <a:gd name="T16" fmla="*/ 231 w 343"/>
              <a:gd name="T17" fmla="*/ 159 h 338"/>
              <a:gd name="T18" fmla="*/ 279 w 343"/>
              <a:gd name="T19" fmla="*/ 111 h 338"/>
              <a:gd name="T20" fmla="*/ 184 w 343"/>
              <a:gd name="T21" fmla="*/ 11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3" h="338">
                <a:moveTo>
                  <a:pt x="120" y="111"/>
                </a:moveTo>
                <a:cubicBezTo>
                  <a:pt x="120" y="50"/>
                  <a:pt x="170" y="0"/>
                  <a:pt x="231" y="0"/>
                </a:cubicBezTo>
                <a:cubicBezTo>
                  <a:pt x="293" y="0"/>
                  <a:pt x="343" y="50"/>
                  <a:pt x="343" y="111"/>
                </a:cubicBezTo>
                <a:cubicBezTo>
                  <a:pt x="343" y="173"/>
                  <a:pt x="293" y="223"/>
                  <a:pt x="231" y="223"/>
                </a:cubicBezTo>
                <a:cubicBezTo>
                  <a:pt x="170" y="223"/>
                  <a:pt x="120" y="173"/>
                  <a:pt x="120" y="111"/>
                </a:cubicBezTo>
                <a:close/>
                <a:moveTo>
                  <a:pt x="152" y="189"/>
                </a:moveTo>
                <a:cubicBezTo>
                  <a:pt x="0" y="338"/>
                  <a:pt x="0" y="338"/>
                  <a:pt x="0" y="338"/>
                </a:cubicBezTo>
                <a:moveTo>
                  <a:pt x="231" y="64"/>
                </a:moveTo>
                <a:cubicBezTo>
                  <a:pt x="231" y="159"/>
                  <a:pt x="231" y="159"/>
                  <a:pt x="231" y="159"/>
                </a:cubicBezTo>
                <a:moveTo>
                  <a:pt x="279" y="111"/>
                </a:moveTo>
                <a:cubicBezTo>
                  <a:pt x="184" y="111"/>
                  <a:pt x="184" y="111"/>
                  <a:pt x="184" y="111"/>
                </a:cubicBezTo>
              </a:path>
            </a:pathLst>
          </a:custGeom>
          <a:noFill/>
          <a:ln w="9525" cap="sq">
            <a:solidFill>
              <a:schemeClr val="accent3">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Chart_E999" title="Icon of a line graph with an arrow at the end pointing up">
            <a:extLst>
              <a:ext uri="{FF2B5EF4-FFF2-40B4-BE49-F238E27FC236}">
                <a16:creationId xmlns:a16="http://schemas.microsoft.com/office/drawing/2014/main" id="{54CEE98D-F222-4525-BC37-B3B96405B87E}"/>
              </a:ext>
            </a:extLst>
          </p:cNvPr>
          <p:cNvSpPr>
            <a:spLocks noChangeAspect="1" noEditPoints="1"/>
          </p:cNvSpPr>
          <p:nvPr/>
        </p:nvSpPr>
        <p:spPr bwMode="auto">
          <a:xfrm>
            <a:off x="7284579" y="4335591"/>
            <a:ext cx="303664" cy="303878"/>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9525" cap="sq">
            <a:solidFill>
              <a:srgbClr val="00857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rPr>
              <a:t> </a:t>
            </a:r>
          </a:p>
        </p:txBody>
      </p:sp>
      <p:sp>
        <p:nvSpPr>
          <p:cNvPr id="90" name="Commitments_EC4D" title="Icon of a handshake">
            <a:extLst>
              <a:ext uri="{FF2B5EF4-FFF2-40B4-BE49-F238E27FC236}">
                <a16:creationId xmlns:a16="http://schemas.microsoft.com/office/drawing/2014/main" id="{DB357951-88A1-4970-AC76-E29B91D768B0}"/>
              </a:ext>
            </a:extLst>
          </p:cNvPr>
          <p:cNvSpPr>
            <a:spLocks noChangeAspect="1" noEditPoints="1"/>
          </p:cNvSpPr>
          <p:nvPr/>
        </p:nvSpPr>
        <p:spPr bwMode="auto">
          <a:xfrm>
            <a:off x="3418188" y="4321455"/>
            <a:ext cx="354246" cy="33215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9525" cap="sq">
            <a:solidFill>
              <a:srgbClr val="107C1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pic>
        <p:nvPicPr>
          <p:cNvPr id="89" name="Picture 88">
            <a:extLst>
              <a:ext uri="{FF2B5EF4-FFF2-40B4-BE49-F238E27FC236}">
                <a16:creationId xmlns:a16="http://schemas.microsoft.com/office/drawing/2014/main" id="{F556C29E-275D-495C-9F7A-6C36FA044704}"/>
              </a:ext>
            </a:extLst>
          </p:cNvPr>
          <p:cNvPicPr>
            <a:picLocks/>
          </p:cNvPicPr>
          <p:nvPr/>
        </p:nvPicPr>
        <p:blipFill rotWithShape="1">
          <a:blip r:embed="rId10" cstate="hqprint">
            <a:extLst>
              <a:ext uri="{28A0092B-C50C-407E-A947-70E740481C1C}">
                <a14:useLocalDpi xmlns:a14="http://schemas.microsoft.com/office/drawing/2010/main" val="0"/>
              </a:ext>
            </a:extLst>
          </a:blip>
          <a:srcRect l="13299" r="1674"/>
          <a:stretch/>
        </p:blipFill>
        <p:spPr>
          <a:xfrm>
            <a:off x="8264005" y="1343349"/>
            <a:ext cx="3346190" cy="1810594"/>
          </a:xfrm>
          <a:custGeom>
            <a:avLst/>
            <a:gdLst>
              <a:gd name="connsiteX0" fmla="*/ 0 w 3340539"/>
              <a:gd name="connsiteY0" fmla="*/ 0 h 1810594"/>
              <a:gd name="connsiteX1" fmla="*/ 3340539 w 3340539"/>
              <a:gd name="connsiteY1" fmla="*/ 0 h 1810594"/>
              <a:gd name="connsiteX2" fmla="*/ 3340539 w 3340539"/>
              <a:gd name="connsiteY2" fmla="*/ 1810594 h 1810594"/>
              <a:gd name="connsiteX3" fmla="*/ 0 w 3340539"/>
              <a:gd name="connsiteY3" fmla="*/ 1810594 h 1810594"/>
            </a:gdLst>
            <a:ahLst/>
            <a:cxnLst>
              <a:cxn ang="0">
                <a:pos x="connsiteX0" y="connsiteY0"/>
              </a:cxn>
              <a:cxn ang="0">
                <a:pos x="connsiteX1" y="connsiteY1"/>
              </a:cxn>
              <a:cxn ang="0">
                <a:pos x="connsiteX2" y="connsiteY2"/>
              </a:cxn>
              <a:cxn ang="0">
                <a:pos x="connsiteX3" y="connsiteY3"/>
              </a:cxn>
            </a:cxnLst>
            <a:rect l="l" t="t" r="r" b="b"/>
            <a:pathLst>
              <a:path w="3340539" h="1810594">
                <a:moveTo>
                  <a:pt x="0" y="0"/>
                </a:moveTo>
                <a:lnTo>
                  <a:pt x="3340539" y="0"/>
                </a:lnTo>
                <a:lnTo>
                  <a:pt x="3340539" y="1810594"/>
                </a:lnTo>
                <a:lnTo>
                  <a:pt x="0" y="1810594"/>
                </a:lnTo>
                <a:close/>
              </a:path>
            </a:pathLst>
          </a:custGeom>
          <a:solidFill>
            <a:schemeClr val="accent1"/>
          </a:solidFill>
          <a:ln>
            <a:noFill/>
            <a:headEnd type="none" w="med" len="med"/>
            <a:tailEnd type="none" w="med" len="med"/>
          </a:ln>
          <a:effectLst/>
        </p:spPr>
      </p:pic>
    </p:spTree>
    <p:extLst>
      <p:ext uri="{BB962C8B-B14F-4D97-AF65-F5344CB8AC3E}">
        <p14:creationId xmlns:p14="http://schemas.microsoft.com/office/powerpoint/2010/main" val="59162259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Qw2SSpAYbckHefPvKzZ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8Z_KU6QxAbkjI.g9Yfd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8Z_KU6QxAbkjI.g9Yfdtg"/>
</p:tagLst>
</file>

<file path=ppt/theme/theme1.xml><?xml version="1.0" encoding="utf-8"?>
<a:theme xmlns:a="http://schemas.openxmlformats.org/drawingml/2006/main" name="6-52060_Viva_Green-teal">
  <a:themeElements>
    <a:clrScheme name="Custom 5">
      <a:dk1>
        <a:srgbClr val="000000"/>
      </a:dk1>
      <a:lt1>
        <a:srgbClr val="FFFFFF"/>
      </a:lt1>
      <a:dk2>
        <a:srgbClr val="2F2F2F"/>
      </a:dk2>
      <a:lt2>
        <a:srgbClr val="E6E6E6"/>
      </a:lt2>
      <a:accent1>
        <a:srgbClr val="107C10"/>
      </a:accent1>
      <a:accent2>
        <a:srgbClr val="054B16"/>
      </a:accent2>
      <a:accent3>
        <a:srgbClr val="9BF00B"/>
      </a:accent3>
      <a:accent4>
        <a:srgbClr val="008575"/>
      </a:accent4>
      <a:accent5>
        <a:srgbClr val="274B47"/>
      </a:accent5>
      <a:accent6>
        <a:srgbClr val="30E5D0"/>
      </a:accent6>
      <a:hlink>
        <a:srgbClr val="107C10"/>
      </a:hlink>
      <a:folHlink>
        <a:srgbClr val="107C1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_template_OptionB_v06.potx" id="{617BD457-C52A-4429-9366-894E0D9D02ED}" vid="{4A7827C4-7590-43D0-B2FB-5E84CB9013C6}"/>
    </a:ext>
  </a:extLst>
</a:theme>
</file>

<file path=ppt/theme/theme2.xml><?xml version="1.0" encoding="utf-8"?>
<a:theme xmlns:a="http://schemas.openxmlformats.org/drawingml/2006/main" name="1_Microsoft Viva Learning Template - 2021">
  <a:themeElements>
    <a:clrScheme name="Custom 9">
      <a:dk1>
        <a:srgbClr val="282828"/>
      </a:dk1>
      <a:lt1>
        <a:srgbClr val="FFFFFF"/>
      </a:lt1>
      <a:dk2>
        <a:srgbClr val="282828"/>
      </a:dk2>
      <a:lt2>
        <a:srgbClr val="FFFFFF"/>
      </a:lt2>
      <a:accent1>
        <a:srgbClr val="9BF00B"/>
      </a:accent1>
      <a:accent2>
        <a:srgbClr val="107C10"/>
      </a:accent2>
      <a:accent3>
        <a:srgbClr val="054B16"/>
      </a:accent3>
      <a:accent4>
        <a:srgbClr val="30E5D0"/>
      </a:accent4>
      <a:accent5>
        <a:srgbClr val="008575"/>
      </a:accent5>
      <a:accent6>
        <a:srgbClr val="274B47"/>
      </a:accent6>
      <a:hlink>
        <a:srgbClr val="107C10"/>
      </a:hlink>
      <a:folHlink>
        <a:srgbClr val="9BF00B"/>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65000"/>
          </a:schemeClr>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285750" marR="0" indent="-285750" algn="l">
          <a:lnSpc>
            <a:spcPct val="107000"/>
          </a:lnSpc>
          <a:spcBef>
            <a:spcPts val="0"/>
          </a:spcBef>
          <a:spcAft>
            <a:spcPts val="800"/>
          </a:spcAft>
          <a:buFont typeface="Arial" panose="020B0604020202020204" pitchFamily="34" charset="0"/>
          <a:buChar char="•"/>
          <a:defRPr sz="18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69bf7e7-eb4b-4297-a706-1ec9807d2d55">
      <UserInfo>
        <DisplayName>Ray Hwang</DisplayName>
        <AccountId>145</AccountId>
        <AccountType/>
      </UserInfo>
    </SharedWithUsers>
    <lcf76f155ced4ddcb4097134ff3c332f xmlns="ecd683d9-e146-4e15-9681-4c1a74478ad0">
      <Terms xmlns="http://schemas.microsoft.com/office/infopath/2007/PartnerControls"/>
    </lcf76f155ced4ddcb4097134ff3c332f>
    <TaxCatchAll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D3181C0F834C64FA343031C5B00AFC4" ma:contentTypeVersion="15" ma:contentTypeDescription="Create a new document." ma:contentTypeScope="" ma:versionID="f7bd2e25215b0d3de733f3da024e9dd3">
  <xsd:schema xmlns:xsd="http://www.w3.org/2001/XMLSchema" xmlns:xs="http://www.w3.org/2001/XMLSchema" xmlns:p="http://schemas.microsoft.com/office/2006/metadata/properties" xmlns:ns2="ecd683d9-e146-4e15-9681-4c1a74478ad0" xmlns:ns3="d69bf7e7-eb4b-4297-a706-1ec9807d2d55" xmlns:ns4="230e9df3-be65-4c73-a93b-d1236ebd677e" targetNamespace="http://schemas.microsoft.com/office/2006/metadata/properties" ma:root="true" ma:fieldsID="17cb010f1a7fe873e2b0fbe8625f1bd1" ns2:_="" ns3:_="" ns4:_="">
    <xsd:import namespace="ecd683d9-e146-4e15-9681-4c1a74478ad0"/>
    <xsd:import namespace="d69bf7e7-eb4b-4297-a706-1ec9807d2d55"/>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683d9-e146-4e15-9681-4c1a74478a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69bf7e7-eb4b-4297-a706-1ec9807d2d55"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eb4af574-5f94-4552-8b6b-88773976de34}" ma:internalName="TaxCatchAll" ma:showField="CatchAllData" ma:web="d69bf7e7-eb4b-4297-a706-1ec9807d2d5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CFD7D23-A10C-494F-B283-6211DD108D85}">
  <ds:schemaRefs>
    <ds:schemaRef ds:uri="http://schemas.microsoft.com/sharepoint/v3/contenttype/forms"/>
  </ds:schemaRefs>
</ds:datastoreItem>
</file>

<file path=customXml/itemProps2.xml><?xml version="1.0" encoding="utf-8"?>
<ds:datastoreItem xmlns:ds="http://schemas.openxmlformats.org/officeDocument/2006/customXml" ds:itemID="{B75B3020-0A9E-4463-9526-3A41B95CFEF7}">
  <ds:schemaRefs>
    <ds:schemaRef ds:uri="230e9df3-be65-4c73-a93b-d1236ebd677e"/>
    <ds:schemaRef ds:uri="8bf6f8e6-990b-4a83-a541-ed0deaa49308"/>
    <ds:schemaRef ds:uri="8f051488-f0ae-4d9e-8d1c-5be7fa0e4f81"/>
    <ds:schemaRef ds:uri="9814de4b-0e9f-4708-a330-4cdbb6ec6059"/>
    <ds:schemaRef ds:uri="bfe259b8-6b0d-4043-bcf1-bc49d10e3610"/>
    <ds:schemaRef ds:uri="d69bf7e7-eb4b-4297-a706-1ec9807d2d55"/>
    <ds:schemaRef ds:uri="ecd683d9-e146-4e15-9681-4c1a74478a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C98A5DA-C544-4CE6-9D0F-989668B2BE3D}">
  <ds:schemaRefs>
    <ds:schemaRef ds:uri="230e9df3-be65-4c73-a93b-d1236ebd677e"/>
    <ds:schemaRef ds:uri="d69bf7e7-eb4b-4297-a706-1ec9807d2d55"/>
    <ds:schemaRef ds:uri="ecd683d9-e146-4e15-9681-4c1a74478a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0</Slides>
  <Notes>37</Notes>
  <HiddenSlides>0</HiddenSlides>
  <ScaleCrop>false</ScaleCrop>
  <HeadingPairs>
    <vt:vector size="4" baseType="variant">
      <vt:variant>
        <vt:lpstr>Theme</vt:lpstr>
      </vt:variant>
      <vt:variant>
        <vt:i4>2</vt:i4>
      </vt:variant>
      <vt:variant>
        <vt:lpstr>Slide Titles</vt:lpstr>
      </vt:variant>
      <vt:variant>
        <vt:i4>40</vt:i4>
      </vt:variant>
    </vt:vector>
  </HeadingPairs>
  <TitlesOfParts>
    <vt:vector size="42" baseType="lpstr">
      <vt:lpstr>6-52060_Viva_Green-teal</vt:lpstr>
      <vt:lpstr>1_Microsoft Viva Learning Template - 2021</vt:lpstr>
      <vt:lpstr>Microsoft Viva Learning Adoption Guide</vt:lpstr>
      <vt:lpstr>Table of contents</vt:lpstr>
      <vt:lpstr>Adoption guide overview</vt:lpstr>
      <vt:lpstr>Assess your environment</vt:lpstr>
      <vt:lpstr>Understand access requirements</vt:lpstr>
      <vt:lpstr>Consider your current learning ecosystem</vt:lpstr>
      <vt:lpstr>Determine target scenarios</vt:lpstr>
      <vt:lpstr>Target adoption scenario examples: Learner</vt:lpstr>
      <vt:lpstr>Target adoption scenario examples: Manager</vt:lpstr>
      <vt:lpstr>Scenario guide</vt:lpstr>
      <vt:lpstr>Assess readiness</vt:lpstr>
      <vt:lpstr>Plan</vt:lpstr>
      <vt:lpstr>Define success criteria</vt:lpstr>
      <vt:lpstr>KPI examples</vt:lpstr>
      <vt:lpstr>Assemble core team</vt:lpstr>
      <vt:lpstr>Assign core team R&amp;R</vt:lpstr>
      <vt:lpstr>Understand common adoption concerns</vt:lpstr>
      <vt:lpstr>Understand common adoption concerns</vt:lpstr>
      <vt:lpstr>Deploy</vt:lpstr>
      <vt:lpstr>Know user discovery scenarios Scenario comparison: User organic discovery vs admin promotion</vt:lpstr>
      <vt:lpstr>Set-up and configure Viva Learning</vt:lpstr>
      <vt:lpstr>Understand learning content sources- Overview</vt:lpstr>
      <vt:lpstr>Understand learning content sources- SharePoint</vt:lpstr>
      <vt:lpstr>Understand learning content sources- SharePoint   Diagram showing SharePoint integration</vt:lpstr>
      <vt:lpstr>Example deployment</vt:lpstr>
      <vt:lpstr>Train and Adopt</vt:lpstr>
      <vt:lpstr>Build training strategy</vt:lpstr>
      <vt:lpstr>Run a pilot</vt:lpstr>
      <vt:lpstr>Align training strategy to launch plan</vt:lpstr>
      <vt:lpstr>Driving a learning culture</vt:lpstr>
      <vt:lpstr>Awareness plan</vt:lpstr>
      <vt:lpstr>Use Available Templates/Guides</vt:lpstr>
      <vt:lpstr>Drive value</vt:lpstr>
      <vt:lpstr>Gather insights</vt:lpstr>
      <vt:lpstr>Monitor satisfaction</vt:lpstr>
      <vt:lpstr>Reinforce adoption</vt:lpstr>
      <vt:lpstr>Deepen engagement</vt:lpstr>
      <vt:lpstr>Resources</vt:lpstr>
      <vt:lpstr>Other resource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all pillar promise</dc:title>
  <dc:creator>Michael Holste</dc:creator>
  <cp:revision>1</cp:revision>
  <dcterms:created xsi:type="dcterms:W3CDTF">2020-12-02T23:33:36Z</dcterms:created>
  <dcterms:modified xsi:type="dcterms:W3CDTF">2022-03-25T21:2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3181C0F834C64FA343031C5B00AFC4</vt:lpwstr>
  </property>
  <property fmtid="{D5CDD505-2E9C-101B-9397-08002B2CF9AE}" pid="3" name="MediaServiceImageTags">
    <vt:lpwstr/>
  </property>
  <property fmtid="{D5CDD505-2E9C-101B-9397-08002B2CF9AE}" pid="4" name="_dlc_DocIdItemGuid">
    <vt:lpwstr>3b0c7c9b-551c-4321-9a23-289d202bc70a</vt:lpwstr>
  </property>
</Properties>
</file>